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3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94" r:id="rId5"/>
    <p:sldId id="420" r:id="rId6"/>
    <p:sldId id="419" r:id="rId7"/>
    <p:sldId id="418" r:id="rId8"/>
    <p:sldId id="258" r:id="rId9"/>
  </p:sldIdLst>
  <p:sldSz cx="9144000" cy="5143500" type="screen16x9"/>
  <p:notesSz cx="6858000" cy="9144000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2913" userDrawn="1">
          <p15:clr>
            <a:srgbClr val="A4A3A4"/>
          </p15:clr>
        </p15:guide>
        <p15:guide id="4" pos="5511" userDrawn="1">
          <p15:clr>
            <a:srgbClr val="A4A3A4"/>
          </p15:clr>
        </p15:guide>
        <p15:guide id="5" orient="horz" pos="1847" userDrawn="1">
          <p15:clr>
            <a:srgbClr val="A4A3A4"/>
          </p15:clr>
        </p15:guide>
        <p15:guide id="6" orient="horz" pos="1756" userDrawn="1">
          <p15:clr>
            <a:srgbClr val="A4A3A4"/>
          </p15:clr>
        </p15:guide>
        <p15:guide id="7" orient="horz" pos="713" userDrawn="1">
          <p15:clr>
            <a:srgbClr val="A4A3A4"/>
          </p15:clr>
        </p15:guide>
        <p15:guide id="8" pos="249" userDrawn="1">
          <p15:clr>
            <a:srgbClr val="A4A3A4"/>
          </p15:clr>
        </p15:guide>
        <p15:guide id="9" pos="1950" userDrawn="1">
          <p15:clr>
            <a:srgbClr val="A4A3A4"/>
          </p15:clr>
        </p15:guide>
        <p15:guide id="10" pos="2041" userDrawn="1">
          <p15:clr>
            <a:srgbClr val="A4A3A4"/>
          </p15:clr>
        </p15:guide>
        <p15:guide id="11" pos="3719" userDrawn="1">
          <p15:clr>
            <a:srgbClr val="A4A3A4"/>
          </p15:clr>
        </p15:guide>
        <p15:guide id="13" pos="3810" userDrawn="1">
          <p15:clr>
            <a:srgbClr val="A4A3A4"/>
          </p15:clr>
        </p15:guide>
        <p15:guide id="14" orient="horz" pos="2996">
          <p15:clr>
            <a:srgbClr val="A4A3A4"/>
          </p15:clr>
        </p15:guide>
        <p15:guide id="15" orient="horz" pos="537">
          <p15:clr>
            <a:srgbClr val="A4A3A4"/>
          </p15:clr>
        </p15:guide>
        <p15:guide id="16" orient="horz" pos="2818">
          <p15:clr>
            <a:srgbClr val="A4A3A4"/>
          </p15:clr>
        </p15:guide>
        <p15:guide id="17" orient="horz" pos="2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9898"/>
    <a:srgbClr val="000000"/>
    <a:srgbClr val="7F7F7F"/>
    <a:srgbClr val="7A7A7A"/>
    <a:srgbClr val="08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75" autoAdjust="0"/>
  </p:normalViewPr>
  <p:slideViewPr>
    <p:cSldViewPr snapToGrid="0" showGuides="1">
      <p:cViewPr varScale="1">
        <p:scale>
          <a:sx n="157" d="100"/>
          <a:sy n="157" d="100"/>
        </p:scale>
        <p:origin x="156" y="396"/>
      </p:cViewPr>
      <p:guideLst>
        <p:guide orient="horz" pos="2913"/>
        <p:guide pos="5511"/>
        <p:guide orient="horz" pos="1847"/>
        <p:guide orient="horz" pos="1756"/>
        <p:guide orient="horz" pos="713"/>
        <p:guide pos="249"/>
        <p:guide pos="1950"/>
        <p:guide pos="2041"/>
        <p:guide pos="3719"/>
        <p:guide pos="3810"/>
        <p:guide orient="horz" pos="2996"/>
        <p:guide orient="horz" pos="537"/>
        <p:guide orient="horz" pos="2818"/>
        <p:guide orient="horz" pos="20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7" d="100"/>
          <a:sy n="67" d="100"/>
        </p:scale>
        <p:origin x="277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6764A8-B865-4D59-95A3-6EAA0893340B}" type="datetimeFigureOut">
              <a:rPr lang="de-DE" smtClean="0"/>
              <a:t>29.01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2AFA1A-4A70-4187-9F10-A5D38AC5D37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72616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B76F25-186E-49E3-91EA-3FB9D34A9F77}" type="datetimeFigureOut">
              <a:rPr lang="de-DE" smtClean="0"/>
              <a:t>29.01.2020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BE8717-C7C3-44D8-90E9-AAA5AE1C5F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48727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BE8717-C7C3-44D8-90E9-AAA5AE1C5FA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287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098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7922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2061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BE8717-C7C3-44D8-90E9-AAA5AE1C5FA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39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G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5288" y="4960856"/>
            <a:ext cx="3240000" cy="923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3515497"/>
            <a:ext cx="2844800" cy="95807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  <a:p>
            <a:pPr lvl="0"/>
            <a:r>
              <a:rPr lang="en-US" dirty="0"/>
              <a:t>Presenter Title</a:t>
            </a:r>
          </a:p>
          <a:p>
            <a:pPr lvl="0"/>
            <a:r>
              <a:rPr lang="en-US" dirty="0"/>
              <a:t>Dat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96875" y="346075"/>
            <a:ext cx="2363787" cy="590550"/>
            <a:chOff x="396875" y="346075"/>
            <a:chExt cx="2363787" cy="590550"/>
          </a:xfrm>
          <a:solidFill>
            <a:schemeClr val="bg1"/>
          </a:solidFill>
        </p:grpSpPr>
        <p:sp>
          <p:nvSpPr>
            <p:cNvPr id="14" name="Freeform 5"/>
            <p:cNvSpPr>
              <a:spLocks noEditPoints="1"/>
            </p:cNvSpPr>
            <p:nvPr userDrawn="1"/>
          </p:nvSpPr>
          <p:spPr bwMode="auto">
            <a:xfrm>
              <a:off x="396875" y="346075"/>
              <a:ext cx="2363787" cy="360363"/>
            </a:xfrm>
            <a:custGeom>
              <a:avLst/>
              <a:gdLst>
                <a:gd name="T0" fmla="*/ 1015 w 1141"/>
                <a:gd name="T1" fmla="*/ 164 h 174"/>
                <a:gd name="T2" fmla="*/ 1008 w 1141"/>
                <a:gd name="T3" fmla="*/ 148 h 174"/>
                <a:gd name="T4" fmla="*/ 962 w 1141"/>
                <a:gd name="T5" fmla="*/ 149 h 174"/>
                <a:gd name="T6" fmla="*/ 1019 w 1141"/>
                <a:gd name="T7" fmla="*/ 118 h 174"/>
                <a:gd name="T8" fmla="*/ 828 w 1141"/>
                <a:gd name="T9" fmla="*/ 96 h 174"/>
                <a:gd name="T10" fmla="*/ 737 w 1141"/>
                <a:gd name="T11" fmla="*/ 76 h 174"/>
                <a:gd name="T12" fmla="*/ 743 w 1141"/>
                <a:gd name="T13" fmla="*/ 93 h 174"/>
                <a:gd name="T14" fmla="*/ 794 w 1141"/>
                <a:gd name="T15" fmla="*/ 100 h 174"/>
                <a:gd name="T16" fmla="*/ 779 w 1141"/>
                <a:gd name="T17" fmla="*/ 174 h 174"/>
                <a:gd name="T18" fmla="*/ 198 w 1141"/>
                <a:gd name="T19" fmla="*/ 131 h 174"/>
                <a:gd name="T20" fmla="*/ 171 w 1141"/>
                <a:gd name="T21" fmla="*/ 148 h 174"/>
                <a:gd name="T22" fmla="*/ 165 w 1141"/>
                <a:gd name="T23" fmla="*/ 163 h 174"/>
                <a:gd name="T24" fmla="*/ 246 w 1141"/>
                <a:gd name="T25" fmla="*/ 139 h 174"/>
                <a:gd name="T26" fmla="*/ 214 w 1141"/>
                <a:gd name="T27" fmla="*/ 87 h 174"/>
                <a:gd name="T28" fmla="*/ 243 w 1141"/>
                <a:gd name="T29" fmla="*/ 75 h 174"/>
                <a:gd name="T30" fmla="*/ 165 w 1141"/>
                <a:gd name="T31" fmla="*/ 98 h 174"/>
                <a:gd name="T32" fmla="*/ 41 w 1141"/>
                <a:gd name="T33" fmla="*/ 72 h 174"/>
                <a:gd name="T34" fmla="*/ 66 w 1141"/>
                <a:gd name="T35" fmla="*/ 0 h 174"/>
                <a:gd name="T36" fmla="*/ 794 w 1141"/>
                <a:gd name="T37" fmla="*/ 152 h 174"/>
                <a:gd name="T38" fmla="*/ 794 w 1141"/>
                <a:gd name="T39" fmla="*/ 123 h 174"/>
                <a:gd name="T40" fmla="*/ 954 w 1141"/>
                <a:gd name="T41" fmla="*/ 98 h 174"/>
                <a:gd name="T42" fmla="*/ 987 w 1141"/>
                <a:gd name="T43" fmla="*/ 114 h 174"/>
                <a:gd name="T44" fmla="*/ 653 w 1141"/>
                <a:gd name="T45" fmla="*/ 151 h 174"/>
                <a:gd name="T46" fmla="*/ 619 w 1141"/>
                <a:gd name="T47" fmla="*/ 71 h 174"/>
                <a:gd name="T48" fmla="*/ 590 w 1141"/>
                <a:gd name="T49" fmla="*/ 71 h 174"/>
                <a:gd name="T50" fmla="*/ 502 w 1141"/>
                <a:gd name="T51" fmla="*/ 33 h 174"/>
                <a:gd name="T52" fmla="*/ 471 w 1141"/>
                <a:gd name="T53" fmla="*/ 68 h 174"/>
                <a:gd name="T54" fmla="*/ 437 w 1141"/>
                <a:gd name="T55" fmla="*/ 46 h 174"/>
                <a:gd name="T56" fmla="*/ 452 w 1141"/>
                <a:gd name="T57" fmla="*/ 45 h 174"/>
                <a:gd name="T58" fmla="*/ 426 w 1141"/>
                <a:gd name="T59" fmla="*/ 23 h 174"/>
                <a:gd name="T60" fmla="*/ 373 w 1141"/>
                <a:gd name="T61" fmla="*/ 71 h 174"/>
                <a:gd name="T62" fmla="*/ 391 w 1141"/>
                <a:gd name="T63" fmla="*/ 169 h 174"/>
                <a:gd name="T64" fmla="*/ 425 w 1141"/>
                <a:gd name="T65" fmla="*/ 91 h 174"/>
                <a:gd name="T66" fmla="*/ 533 w 1141"/>
                <a:gd name="T67" fmla="*/ 169 h 174"/>
                <a:gd name="T68" fmla="*/ 531 w 1141"/>
                <a:gd name="T69" fmla="*/ 148 h 174"/>
                <a:gd name="T70" fmla="*/ 505 w 1141"/>
                <a:gd name="T71" fmla="*/ 137 h 174"/>
                <a:gd name="T72" fmla="*/ 573 w 1141"/>
                <a:gd name="T73" fmla="*/ 170 h 174"/>
                <a:gd name="T74" fmla="*/ 715 w 1141"/>
                <a:gd name="T75" fmla="*/ 144 h 174"/>
                <a:gd name="T76" fmla="*/ 682 w 1141"/>
                <a:gd name="T77" fmla="*/ 71 h 174"/>
                <a:gd name="T78" fmla="*/ 908 w 1141"/>
                <a:gd name="T79" fmla="*/ 66 h 174"/>
                <a:gd name="T80" fmla="*/ 852 w 1141"/>
                <a:gd name="T81" fmla="*/ 169 h 174"/>
                <a:gd name="T82" fmla="*/ 886 w 1141"/>
                <a:gd name="T83" fmla="*/ 92 h 174"/>
                <a:gd name="T84" fmla="*/ 313 w 1141"/>
                <a:gd name="T85" fmla="*/ 174 h 174"/>
                <a:gd name="T86" fmla="*/ 296 w 1141"/>
                <a:gd name="T87" fmla="*/ 120 h 174"/>
                <a:gd name="T88" fmla="*/ 296 w 1141"/>
                <a:gd name="T89" fmla="*/ 120 h 174"/>
                <a:gd name="T90" fmla="*/ 1064 w 1141"/>
                <a:gd name="T91" fmla="*/ 92 h 174"/>
                <a:gd name="T92" fmla="*/ 1125 w 1141"/>
                <a:gd name="T93" fmla="*/ 106 h 174"/>
                <a:gd name="T94" fmla="*/ 1138 w 1141"/>
                <a:gd name="T95" fmla="*/ 76 h 174"/>
                <a:gd name="T96" fmla="*/ 1141 w 1141"/>
                <a:gd name="T97" fmla="*/ 71 h 174"/>
                <a:gd name="T98" fmla="*/ 1125 w 1141"/>
                <a:gd name="T99" fmla="*/ 113 h 174"/>
                <a:gd name="T100" fmla="*/ 1141 w 1141"/>
                <a:gd name="T101" fmla="*/ 88 h 174"/>
                <a:gd name="T102" fmla="*/ 1123 w 1141"/>
                <a:gd name="T103" fmla="*/ 94 h 174"/>
                <a:gd name="T104" fmla="*/ 1062 w 1141"/>
                <a:gd name="T105" fmla="*/ 68 h 174"/>
                <a:gd name="T106" fmla="*/ 1048 w 1141"/>
                <a:gd name="T107" fmla="*/ 112 h 174"/>
                <a:gd name="T108" fmla="*/ 1080 w 1141"/>
                <a:gd name="T109" fmla="*/ 99 h 174"/>
                <a:gd name="T110" fmla="*/ 1094 w 1141"/>
                <a:gd name="T111" fmla="*/ 112 h 174"/>
                <a:gd name="T112" fmla="*/ 70 w 1141"/>
                <a:gd name="T113" fmla="*/ 68 h 174"/>
                <a:gd name="T114" fmla="*/ 21 w 1141"/>
                <a:gd name="T115" fmla="*/ 172 h 174"/>
                <a:gd name="T116" fmla="*/ 70 w 1141"/>
                <a:gd name="T117" fmla="*/ 6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1" h="174">
                  <a:moveTo>
                    <a:pt x="919" y="120"/>
                  </a:moveTo>
                  <a:cubicBezTo>
                    <a:pt x="919" y="160"/>
                    <a:pt x="937" y="174"/>
                    <a:pt x="975" y="174"/>
                  </a:cubicBezTo>
                  <a:cubicBezTo>
                    <a:pt x="992" y="174"/>
                    <a:pt x="1006" y="169"/>
                    <a:pt x="1012" y="167"/>
                  </a:cubicBezTo>
                  <a:cubicBezTo>
                    <a:pt x="1014" y="167"/>
                    <a:pt x="1015" y="165"/>
                    <a:pt x="1015" y="164"/>
                  </a:cubicBezTo>
                  <a:cubicBezTo>
                    <a:pt x="1015" y="163"/>
                    <a:pt x="1015" y="163"/>
                    <a:pt x="1015" y="162"/>
                  </a:cubicBezTo>
                  <a:cubicBezTo>
                    <a:pt x="1012" y="151"/>
                    <a:pt x="1012" y="151"/>
                    <a:pt x="1012" y="151"/>
                  </a:cubicBezTo>
                  <a:cubicBezTo>
                    <a:pt x="1012" y="151"/>
                    <a:pt x="1012" y="151"/>
                    <a:pt x="1012" y="151"/>
                  </a:cubicBezTo>
                  <a:cubicBezTo>
                    <a:pt x="1011" y="148"/>
                    <a:pt x="1010" y="148"/>
                    <a:pt x="1008" y="148"/>
                  </a:cubicBezTo>
                  <a:cubicBezTo>
                    <a:pt x="1008" y="148"/>
                    <a:pt x="1007" y="148"/>
                    <a:pt x="1006" y="148"/>
                  </a:cubicBezTo>
                  <a:cubicBezTo>
                    <a:pt x="1006" y="148"/>
                    <a:pt x="1006" y="148"/>
                    <a:pt x="1006" y="148"/>
                  </a:cubicBezTo>
                  <a:cubicBezTo>
                    <a:pt x="1001" y="150"/>
                    <a:pt x="992" y="152"/>
                    <a:pt x="981" y="152"/>
                  </a:cubicBezTo>
                  <a:cubicBezTo>
                    <a:pt x="973" y="152"/>
                    <a:pt x="966" y="151"/>
                    <a:pt x="962" y="149"/>
                  </a:cubicBezTo>
                  <a:cubicBezTo>
                    <a:pt x="957" y="146"/>
                    <a:pt x="954" y="141"/>
                    <a:pt x="954" y="133"/>
                  </a:cubicBezTo>
                  <a:cubicBezTo>
                    <a:pt x="1015" y="133"/>
                    <a:pt x="1015" y="133"/>
                    <a:pt x="1015" y="133"/>
                  </a:cubicBezTo>
                  <a:cubicBezTo>
                    <a:pt x="1019" y="133"/>
                    <a:pt x="1019" y="130"/>
                    <a:pt x="1019" y="127"/>
                  </a:cubicBezTo>
                  <a:cubicBezTo>
                    <a:pt x="1019" y="118"/>
                    <a:pt x="1019" y="118"/>
                    <a:pt x="1019" y="118"/>
                  </a:cubicBezTo>
                  <a:cubicBezTo>
                    <a:pt x="1019" y="100"/>
                    <a:pt x="1016" y="86"/>
                    <a:pt x="1009" y="78"/>
                  </a:cubicBezTo>
                  <a:cubicBezTo>
                    <a:pt x="1001" y="70"/>
                    <a:pt x="988" y="66"/>
                    <a:pt x="970" y="66"/>
                  </a:cubicBezTo>
                  <a:cubicBezTo>
                    <a:pt x="932" y="66"/>
                    <a:pt x="919" y="80"/>
                    <a:pt x="919" y="120"/>
                  </a:cubicBezTo>
                  <a:moveTo>
                    <a:pt x="828" y="96"/>
                  </a:moveTo>
                  <a:cubicBezTo>
                    <a:pt x="828" y="85"/>
                    <a:pt x="824" y="77"/>
                    <a:pt x="815" y="71"/>
                  </a:cubicBezTo>
                  <a:cubicBezTo>
                    <a:pt x="808" y="67"/>
                    <a:pt x="798" y="66"/>
                    <a:pt x="784" y="66"/>
                  </a:cubicBezTo>
                  <a:cubicBezTo>
                    <a:pt x="763" y="66"/>
                    <a:pt x="743" y="71"/>
                    <a:pt x="740" y="73"/>
                  </a:cubicBezTo>
                  <a:cubicBezTo>
                    <a:pt x="738" y="73"/>
                    <a:pt x="737" y="74"/>
                    <a:pt x="737" y="76"/>
                  </a:cubicBezTo>
                  <a:cubicBezTo>
                    <a:pt x="737" y="76"/>
                    <a:pt x="737" y="76"/>
                    <a:pt x="737" y="76"/>
                  </a:cubicBezTo>
                  <a:cubicBezTo>
                    <a:pt x="737" y="76"/>
                    <a:pt x="737" y="77"/>
                    <a:pt x="737" y="77"/>
                  </a:cubicBezTo>
                  <a:cubicBezTo>
                    <a:pt x="741" y="92"/>
                    <a:pt x="741" y="92"/>
                    <a:pt x="741" y="92"/>
                  </a:cubicBezTo>
                  <a:cubicBezTo>
                    <a:pt x="741" y="93"/>
                    <a:pt x="742" y="93"/>
                    <a:pt x="743" y="93"/>
                  </a:cubicBezTo>
                  <a:cubicBezTo>
                    <a:pt x="743" y="93"/>
                    <a:pt x="743" y="93"/>
                    <a:pt x="744" y="93"/>
                  </a:cubicBezTo>
                  <a:cubicBezTo>
                    <a:pt x="748" y="92"/>
                    <a:pt x="764" y="88"/>
                    <a:pt x="776" y="88"/>
                  </a:cubicBezTo>
                  <a:cubicBezTo>
                    <a:pt x="783" y="88"/>
                    <a:pt x="787" y="88"/>
                    <a:pt x="790" y="89"/>
                  </a:cubicBezTo>
                  <a:cubicBezTo>
                    <a:pt x="793" y="91"/>
                    <a:pt x="794" y="94"/>
                    <a:pt x="794" y="100"/>
                  </a:cubicBezTo>
                  <a:cubicBezTo>
                    <a:pt x="794" y="104"/>
                    <a:pt x="794" y="104"/>
                    <a:pt x="794" y="104"/>
                  </a:cubicBezTo>
                  <a:cubicBezTo>
                    <a:pt x="760" y="109"/>
                    <a:pt x="760" y="109"/>
                    <a:pt x="760" y="109"/>
                  </a:cubicBezTo>
                  <a:cubicBezTo>
                    <a:pt x="747" y="111"/>
                    <a:pt x="731" y="115"/>
                    <a:pt x="731" y="140"/>
                  </a:cubicBezTo>
                  <a:cubicBezTo>
                    <a:pt x="731" y="170"/>
                    <a:pt x="755" y="174"/>
                    <a:pt x="779" y="174"/>
                  </a:cubicBezTo>
                  <a:cubicBezTo>
                    <a:pt x="791" y="174"/>
                    <a:pt x="800" y="173"/>
                    <a:pt x="808" y="171"/>
                  </a:cubicBezTo>
                  <a:cubicBezTo>
                    <a:pt x="821" y="168"/>
                    <a:pt x="828" y="166"/>
                    <a:pt x="828" y="151"/>
                  </a:cubicBezTo>
                  <a:lnTo>
                    <a:pt x="828" y="96"/>
                  </a:lnTo>
                  <a:close/>
                  <a:moveTo>
                    <a:pt x="198" y="131"/>
                  </a:moveTo>
                  <a:cubicBezTo>
                    <a:pt x="208" y="133"/>
                    <a:pt x="212" y="134"/>
                    <a:pt x="212" y="142"/>
                  </a:cubicBezTo>
                  <a:cubicBezTo>
                    <a:pt x="212" y="150"/>
                    <a:pt x="205" y="152"/>
                    <a:pt x="198" y="152"/>
                  </a:cubicBezTo>
                  <a:cubicBezTo>
                    <a:pt x="188" y="152"/>
                    <a:pt x="176" y="149"/>
                    <a:pt x="171" y="148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70" y="148"/>
                    <a:pt x="169" y="148"/>
                    <a:pt x="169" y="148"/>
                  </a:cubicBezTo>
                  <a:cubicBezTo>
                    <a:pt x="168" y="148"/>
                    <a:pt x="167" y="148"/>
                    <a:pt x="167" y="150"/>
                  </a:cubicBezTo>
                  <a:cubicBezTo>
                    <a:pt x="165" y="163"/>
                    <a:pt x="165" y="163"/>
                    <a:pt x="165" y="163"/>
                  </a:cubicBezTo>
                  <a:cubicBezTo>
                    <a:pt x="164" y="164"/>
                    <a:pt x="164" y="165"/>
                    <a:pt x="164" y="165"/>
                  </a:cubicBezTo>
                  <a:cubicBezTo>
                    <a:pt x="164" y="167"/>
                    <a:pt x="165" y="167"/>
                    <a:pt x="166" y="168"/>
                  </a:cubicBezTo>
                  <a:cubicBezTo>
                    <a:pt x="170" y="170"/>
                    <a:pt x="186" y="174"/>
                    <a:pt x="203" y="174"/>
                  </a:cubicBezTo>
                  <a:cubicBezTo>
                    <a:pt x="227" y="174"/>
                    <a:pt x="246" y="165"/>
                    <a:pt x="246" y="139"/>
                  </a:cubicBezTo>
                  <a:cubicBezTo>
                    <a:pt x="246" y="115"/>
                    <a:pt x="232" y="110"/>
                    <a:pt x="218" y="108"/>
                  </a:cubicBezTo>
                  <a:cubicBezTo>
                    <a:pt x="215" y="107"/>
                    <a:pt x="215" y="107"/>
                    <a:pt x="215" y="107"/>
                  </a:cubicBezTo>
                  <a:cubicBezTo>
                    <a:pt x="207" y="106"/>
                    <a:pt x="200" y="104"/>
                    <a:pt x="200" y="96"/>
                  </a:cubicBezTo>
                  <a:cubicBezTo>
                    <a:pt x="200" y="88"/>
                    <a:pt x="208" y="87"/>
                    <a:pt x="214" y="87"/>
                  </a:cubicBezTo>
                  <a:cubicBezTo>
                    <a:pt x="222" y="87"/>
                    <a:pt x="230" y="88"/>
                    <a:pt x="234" y="89"/>
                  </a:cubicBezTo>
                  <a:cubicBezTo>
                    <a:pt x="236" y="90"/>
                    <a:pt x="237" y="90"/>
                    <a:pt x="238" y="90"/>
                  </a:cubicBezTo>
                  <a:cubicBezTo>
                    <a:pt x="239" y="90"/>
                    <a:pt x="240" y="89"/>
                    <a:pt x="240" y="88"/>
                  </a:cubicBezTo>
                  <a:cubicBezTo>
                    <a:pt x="241" y="83"/>
                    <a:pt x="242" y="79"/>
                    <a:pt x="243" y="75"/>
                  </a:cubicBezTo>
                  <a:cubicBezTo>
                    <a:pt x="243" y="75"/>
                    <a:pt x="243" y="74"/>
                    <a:pt x="243" y="73"/>
                  </a:cubicBezTo>
                  <a:cubicBezTo>
                    <a:pt x="243" y="71"/>
                    <a:pt x="242" y="70"/>
                    <a:pt x="239" y="69"/>
                  </a:cubicBezTo>
                  <a:cubicBezTo>
                    <a:pt x="234" y="68"/>
                    <a:pt x="222" y="66"/>
                    <a:pt x="209" y="66"/>
                  </a:cubicBezTo>
                  <a:cubicBezTo>
                    <a:pt x="191" y="66"/>
                    <a:pt x="165" y="68"/>
                    <a:pt x="165" y="98"/>
                  </a:cubicBezTo>
                  <a:cubicBezTo>
                    <a:pt x="165" y="124"/>
                    <a:pt x="183" y="128"/>
                    <a:pt x="196" y="131"/>
                  </a:cubicBezTo>
                  <a:lnTo>
                    <a:pt x="198" y="131"/>
                  </a:lnTo>
                  <a:close/>
                  <a:moveTo>
                    <a:pt x="41" y="106"/>
                  </a:moveTo>
                  <a:cubicBezTo>
                    <a:pt x="41" y="72"/>
                    <a:pt x="41" y="72"/>
                    <a:pt x="41" y="72"/>
                  </a:cubicBezTo>
                  <a:cubicBezTo>
                    <a:pt x="41" y="50"/>
                    <a:pt x="50" y="40"/>
                    <a:pt x="70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6" y="0"/>
                    <a:pt x="0" y="29"/>
                    <a:pt x="0" y="69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41" y="106"/>
                  </a:lnTo>
                  <a:close/>
                  <a:moveTo>
                    <a:pt x="794" y="152"/>
                  </a:moveTo>
                  <a:cubicBezTo>
                    <a:pt x="793" y="152"/>
                    <a:pt x="787" y="153"/>
                    <a:pt x="780" y="153"/>
                  </a:cubicBezTo>
                  <a:cubicBezTo>
                    <a:pt x="773" y="153"/>
                    <a:pt x="763" y="152"/>
                    <a:pt x="763" y="139"/>
                  </a:cubicBezTo>
                  <a:cubicBezTo>
                    <a:pt x="763" y="128"/>
                    <a:pt x="769" y="127"/>
                    <a:pt x="776" y="126"/>
                  </a:cubicBezTo>
                  <a:cubicBezTo>
                    <a:pt x="794" y="123"/>
                    <a:pt x="794" y="123"/>
                    <a:pt x="794" y="123"/>
                  </a:cubicBezTo>
                  <a:lnTo>
                    <a:pt x="794" y="152"/>
                  </a:lnTo>
                  <a:close/>
                  <a:moveTo>
                    <a:pt x="953" y="114"/>
                  </a:moveTo>
                  <a:cubicBezTo>
                    <a:pt x="953" y="112"/>
                    <a:pt x="953" y="112"/>
                    <a:pt x="953" y="112"/>
                  </a:cubicBezTo>
                  <a:cubicBezTo>
                    <a:pt x="953" y="109"/>
                    <a:pt x="953" y="103"/>
                    <a:pt x="954" y="98"/>
                  </a:cubicBezTo>
                  <a:cubicBezTo>
                    <a:pt x="956" y="92"/>
                    <a:pt x="959" y="87"/>
                    <a:pt x="970" y="87"/>
                  </a:cubicBezTo>
                  <a:cubicBezTo>
                    <a:pt x="979" y="87"/>
                    <a:pt x="984" y="91"/>
                    <a:pt x="986" y="97"/>
                  </a:cubicBezTo>
                  <a:cubicBezTo>
                    <a:pt x="987" y="101"/>
                    <a:pt x="987" y="107"/>
                    <a:pt x="987" y="111"/>
                  </a:cubicBezTo>
                  <a:cubicBezTo>
                    <a:pt x="987" y="114"/>
                    <a:pt x="987" y="114"/>
                    <a:pt x="987" y="114"/>
                  </a:cubicBezTo>
                  <a:lnTo>
                    <a:pt x="953" y="114"/>
                  </a:lnTo>
                  <a:close/>
                  <a:moveTo>
                    <a:pt x="682" y="139"/>
                  </a:moveTo>
                  <a:cubicBezTo>
                    <a:pt x="682" y="150"/>
                    <a:pt x="675" y="153"/>
                    <a:pt x="667" y="153"/>
                  </a:cubicBezTo>
                  <a:cubicBezTo>
                    <a:pt x="660" y="153"/>
                    <a:pt x="653" y="151"/>
                    <a:pt x="653" y="151"/>
                  </a:cubicBezTo>
                  <a:cubicBezTo>
                    <a:pt x="653" y="71"/>
                    <a:pt x="653" y="71"/>
                    <a:pt x="653" y="71"/>
                  </a:cubicBezTo>
                  <a:cubicBezTo>
                    <a:pt x="653" y="69"/>
                    <a:pt x="652" y="68"/>
                    <a:pt x="650" y="68"/>
                  </a:cubicBezTo>
                  <a:cubicBezTo>
                    <a:pt x="621" y="68"/>
                    <a:pt x="621" y="68"/>
                    <a:pt x="621" y="68"/>
                  </a:cubicBezTo>
                  <a:cubicBezTo>
                    <a:pt x="620" y="68"/>
                    <a:pt x="619" y="69"/>
                    <a:pt x="619" y="71"/>
                  </a:cubicBezTo>
                  <a:cubicBezTo>
                    <a:pt x="619" y="139"/>
                    <a:pt x="619" y="139"/>
                    <a:pt x="619" y="139"/>
                  </a:cubicBezTo>
                  <a:cubicBezTo>
                    <a:pt x="619" y="150"/>
                    <a:pt x="615" y="153"/>
                    <a:pt x="607" y="153"/>
                  </a:cubicBezTo>
                  <a:cubicBezTo>
                    <a:pt x="600" y="153"/>
                    <a:pt x="590" y="151"/>
                    <a:pt x="590" y="151"/>
                  </a:cubicBezTo>
                  <a:cubicBezTo>
                    <a:pt x="590" y="71"/>
                    <a:pt x="590" y="71"/>
                    <a:pt x="590" y="71"/>
                  </a:cubicBezTo>
                  <a:cubicBezTo>
                    <a:pt x="590" y="69"/>
                    <a:pt x="589" y="68"/>
                    <a:pt x="587" y="68"/>
                  </a:cubicBezTo>
                  <a:cubicBezTo>
                    <a:pt x="505" y="68"/>
                    <a:pt x="505" y="68"/>
                    <a:pt x="505" y="68"/>
                  </a:cubicBezTo>
                  <a:cubicBezTo>
                    <a:pt x="505" y="36"/>
                    <a:pt x="505" y="36"/>
                    <a:pt x="505" y="36"/>
                  </a:cubicBezTo>
                  <a:cubicBezTo>
                    <a:pt x="505" y="34"/>
                    <a:pt x="504" y="33"/>
                    <a:pt x="502" y="33"/>
                  </a:cubicBezTo>
                  <a:cubicBezTo>
                    <a:pt x="501" y="33"/>
                    <a:pt x="500" y="33"/>
                    <a:pt x="500" y="33"/>
                  </a:cubicBezTo>
                  <a:cubicBezTo>
                    <a:pt x="475" y="37"/>
                    <a:pt x="475" y="37"/>
                    <a:pt x="475" y="37"/>
                  </a:cubicBezTo>
                  <a:cubicBezTo>
                    <a:pt x="472" y="38"/>
                    <a:pt x="471" y="40"/>
                    <a:pt x="471" y="42"/>
                  </a:cubicBezTo>
                  <a:cubicBezTo>
                    <a:pt x="471" y="68"/>
                    <a:pt x="471" y="68"/>
                    <a:pt x="471" y="68"/>
                  </a:cubicBezTo>
                  <a:cubicBezTo>
                    <a:pt x="425" y="68"/>
                    <a:pt x="425" y="68"/>
                    <a:pt x="425" y="68"/>
                  </a:cubicBezTo>
                  <a:cubicBezTo>
                    <a:pt x="425" y="57"/>
                    <a:pt x="425" y="57"/>
                    <a:pt x="425" y="57"/>
                  </a:cubicBezTo>
                  <a:cubicBezTo>
                    <a:pt x="425" y="53"/>
                    <a:pt x="426" y="50"/>
                    <a:pt x="427" y="49"/>
                  </a:cubicBezTo>
                  <a:cubicBezTo>
                    <a:pt x="430" y="47"/>
                    <a:pt x="432" y="46"/>
                    <a:pt x="437" y="46"/>
                  </a:cubicBezTo>
                  <a:cubicBezTo>
                    <a:pt x="440" y="46"/>
                    <a:pt x="445" y="47"/>
                    <a:pt x="447" y="47"/>
                  </a:cubicBezTo>
                  <a:cubicBezTo>
                    <a:pt x="447" y="47"/>
                    <a:pt x="448" y="47"/>
                    <a:pt x="448" y="47"/>
                  </a:cubicBezTo>
                  <a:cubicBezTo>
                    <a:pt x="449" y="48"/>
                    <a:pt x="450" y="48"/>
                    <a:pt x="451" y="48"/>
                  </a:cubicBezTo>
                  <a:cubicBezTo>
                    <a:pt x="452" y="48"/>
                    <a:pt x="452" y="47"/>
                    <a:pt x="452" y="45"/>
                  </a:cubicBezTo>
                  <a:cubicBezTo>
                    <a:pt x="455" y="31"/>
                    <a:pt x="455" y="31"/>
                    <a:pt x="455" y="31"/>
                  </a:cubicBezTo>
                  <a:cubicBezTo>
                    <a:pt x="455" y="31"/>
                    <a:pt x="455" y="30"/>
                    <a:pt x="455" y="29"/>
                  </a:cubicBezTo>
                  <a:cubicBezTo>
                    <a:pt x="455" y="28"/>
                    <a:pt x="454" y="27"/>
                    <a:pt x="453" y="26"/>
                  </a:cubicBezTo>
                  <a:cubicBezTo>
                    <a:pt x="450" y="26"/>
                    <a:pt x="441" y="23"/>
                    <a:pt x="426" y="23"/>
                  </a:cubicBezTo>
                  <a:cubicBezTo>
                    <a:pt x="402" y="23"/>
                    <a:pt x="391" y="34"/>
                    <a:pt x="391" y="55"/>
                  </a:cubicBezTo>
                  <a:cubicBezTo>
                    <a:pt x="391" y="68"/>
                    <a:pt x="391" y="68"/>
                    <a:pt x="391" y="68"/>
                  </a:cubicBezTo>
                  <a:cubicBezTo>
                    <a:pt x="376" y="68"/>
                    <a:pt x="376" y="68"/>
                    <a:pt x="376" y="68"/>
                  </a:cubicBezTo>
                  <a:cubicBezTo>
                    <a:pt x="374" y="68"/>
                    <a:pt x="373" y="69"/>
                    <a:pt x="373" y="71"/>
                  </a:cubicBezTo>
                  <a:cubicBezTo>
                    <a:pt x="373" y="89"/>
                    <a:pt x="373" y="89"/>
                    <a:pt x="373" y="89"/>
                  </a:cubicBezTo>
                  <a:cubicBezTo>
                    <a:pt x="373" y="90"/>
                    <a:pt x="374" y="91"/>
                    <a:pt x="376" y="91"/>
                  </a:cubicBezTo>
                  <a:cubicBezTo>
                    <a:pt x="391" y="91"/>
                    <a:pt x="391" y="91"/>
                    <a:pt x="391" y="91"/>
                  </a:cubicBezTo>
                  <a:cubicBezTo>
                    <a:pt x="391" y="169"/>
                    <a:pt x="391" y="169"/>
                    <a:pt x="391" y="169"/>
                  </a:cubicBezTo>
                  <a:cubicBezTo>
                    <a:pt x="391" y="170"/>
                    <a:pt x="392" y="171"/>
                    <a:pt x="393" y="171"/>
                  </a:cubicBezTo>
                  <a:cubicBezTo>
                    <a:pt x="422" y="171"/>
                    <a:pt x="422" y="171"/>
                    <a:pt x="422" y="171"/>
                  </a:cubicBezTo>
                  <a:cubicBezTo>
                    <a:pt x="424" y="171"/>
                    <a:pt x="425" y="170"/>
                    <a:pt x="425" y="169"/>
                  </a:cubicBezTo>
                  <a:cubicBezTo>
                    <a:pt x="425" y="91"/>
                    <a:pt x="425" y="91"/>
                    <a:pt x="425" y="91"/>
                  </a:cubicBezTo>
                  <a:cubicBezTo>
                    <a:pt x="471" y="91"/>
                    <a:pt x="471" y="91"/>
                    <a:pt x="471" y="91"/>
                  </a:cubicBezTo>
                  <a:cubicBezTo>
                    <a:pt x="471" y="139"/>
                    <a:pt x="471" y="139"/>
                    <a:pt x="471" y="139"/>
                  </a:cubicBezTo>
                  <a:cubicBezTo>
                    <a:pt x="471" y="164"/>
                    <a:pt x="484" y="173"/>
                    <a:pt x="508" y="173"/>
                  </a:cubicBezTo>
                  <a:cubicBezTo>
                    <a:pt x="522" y="173"/>
                    <a:pt x="531" y="170"/>
                    <a:pt x="533" y="169"/>
                  </a:cubicBezTo>
                  <a:cubicBezTo>
                    <a:pt x="535" y="169"/>
                    <a:pt x="536" y="168"/>
                    <a:pt x="536" y="166"/>
                  </a:cubicBezTo>
                  <a:cubicBezTo>
                    <a:pt x="536" y="165"/>
                    <a:pt x="536" y="164"/>
                    <a:pt x="536" y="164"/>
                  </a:cubicBezTo>
                  <a:cubicBezTo>
                    <a:pt x="533" y="150"/>
                    <a:pt x="533" y="150"/>
                    <a:pt x="533" y="150"/>
                  </a:cubicBezTo>
                  <a:cubicBezTo>
                    <a:pt x="532" y="149"/>
                    <a:pt x="532" y="148"/>
                    <a:pt x="531" y="148"/>
                  </a:cubicBezTo>
                  <a:cubicBezTo>
                    <a:pt x="531" y="148"/>
                    <a:pt x="530" y="148"/>
                    <a:pt x="529" y="148"/>
                  </a:cubicBezTo>
                  <a:cubicBezTo>
                    <a:pt x="529" y="148"/>
                    <a:pt x="529" y="148"/>
                    <a:pt x="528" y="148"/>
                  </a:cubicBezTo>
                  <a:cubicBezTo>
                    <a:pt x="526" y="149"/>
                    <a:pt x="522" y="149"/>
                    <a:pt x="517" y="149"/>
                  </a:cubicBezTo>
                  <a:cubicBezTo>
                    <a:pt x="507" y="149"/>
                    <a:pt x="505" y="144"/>
                    <a:pt x="505" y="137"/>
                  </a:cubicBezTo>
                  <a:cubicBezTo>
                    <a:pt x="505" y="92"/>
                    <a:pt x="505" y="92"/>
                    <a:pt x="505" y="92"/>
                  </a:cubicBezTo>
                  <a:cubicBezTo>
                    <a:pt x="556" y="92"/>
                    <a:pt x="556" y="92"/>
                    <a:pt x="556" y="92"/>
                  </a:cubicBezTo>
                  <a:cubicBezTo>
                    <a:pt x="556" y="159"/>
                    <a:pt x="556" y="159"/>
                    <a:pt x="556" y="159"/>
                  </a:cubicBezTo>
                  <a:cubicBezTo>
                    <a:pt x="556" y="165"/>
                    <a:pt x="562" y="168"/>
                    <a:pt x="573" y="170"/>
                  </a:cubicBezTo>
                  <a:cubicBezTo>
                    <a:pt x="582" y="172"/>
                    <a:pt x="594" y="174"/>
                    <a:pt x="604" y="174"/>
                  </a:cubicBezTo>
                  <a:cubicBezTo>
                    <a:pt x="616" y="174"/>
                    <a:pt x="628" y="172"/>
                    <a:pt x="637" y="165"/>
                  </a:cubicBezTo>
                  <a:cubicBezTo>
                    <a:pt x="649" y="172"/>
                    <a:pt x="662" y="174"/>
                    <a:pt x="675" y="174"/>
                  </a:cubicBezTo>
                  <a:cubicBezTo>
                    <a:pt x="699" y="174"/>
                    <a:pt x="715" y="168"/>
                    <a:pt x="715" y="144"/>
                  </a:cubicBezTo>
                  <a:cubicBezTo>
                    <a:pt x="715" y="71"/>
                    <a:pt x="715" y="71"/>
                    <a:pt x="715" y="71"/>
                  </a:cubicBezTo>
                  <a:cubicBezTo>
                    <a:pt x="715" y="69"/>
                    <a:pt x="714" y="68"/>
                    <a:pt x="713" y="68"/>
                  </a:cubicBezTo>
                  <a:cubicBezTo>
                    <a:pt x="684" y="68"/>
                    <a:pt x="684" y="68"/>
                    <a:pt x="684" y="68"/>
                  </a:cubicBezTo>
                  <a:cubicBezTo>
                    <a:pt x="683" y="68"/>
                    <a:pt x="682" y="69"/>
                    <a:pt x="682" y="71"/>
                  </a:cubicBezTo>
                  <a:lnTo>
                    <a:pt x="682" y="139"/>
                  </a:lnTo>
                  <a:close/>
                  <a:moveTo>
                    <a:pt x="912" y="86"/>
                  </a:moveTo>
                  <a:cubicBezTo>
                    <a:pt x="912" y="70"/>
                    <a:pt x="912" y="70"/>
                    <a:pt x="912" y="70"/>
                  </a:cubicBezTo>
                  <a:cubicBezTo>
                    <a:pt x="912" y="67"/>
                    <a:pt x="911" y="66"/>
                    <a:pt x="908" y="66"/>
                  </a:cubicBezTo>
                  <a:cubicBezTo>
                    <a:pt x="905" y="66"/>
                    <a:pt x="905" y="66"/>
                    <a:pt x="905" y="66"/>
                  </a:cubicBezTo>
                  <a:cubicBezTo>
                    <a:pt x="893" y="66"/>
                    <a:pt x="879" y="67"/>
                    <a:pt x="870" y="69"/>
                  </a:cubicBezTo>
                  <a:cubicBezTo>
                    <a:pt x="858" y="72"/>
                    <a:pt x="852" y="74"/>
                    <a:pt x="852" y="81"/>
                  </a:cubicBezTo>
                  <a:cubicBezTo>
                    <a:pt x="852" y="169"/>
                    <a:pt x="852" y="169"/>
                    <a:pt x="852" y="169"/>
                  </a:cubicBezTo>
                  <a:cubicBezTo>
                    <a:pt x="852" y="170"/>
                    <a:pt x="853" y="171"/>
                    <a:pt x="855" y="171"/>
                  </a:cubicBezTo>
                  <a:cubicBezTo>
                    <a:pt x="884" y="171"/>
                    <a:pt x="884" y="171"/>
                    <a:pt x="884" y="171"/>
                  </a:cubicBezTo>
                  <a:cubicBezTo>
                    <a:pt x="885" y="171"/>
                    <a:pt x="886" y="170"/>
                    <a:pt x="886" y="169"/>
                  </a:cubicBezTo>
                  <a:cubicBezTo>
                    <a:pt x="886" y="92"/>
                    <a:pt x="886" y="92"/>
                    <a:pt x="886" y="92"/>
                  </a:cubicBezTo>
                  <a:cubicBezTo>
                    <a:pt x="888" y="91"/>
                    <a:pt x="897" y="90"/>
                    <a:pt x="909" y="90"/>
                  </a:cubicBezTo>
                  <a:cubicBezTo>
                    <a:pt x="912" y="90"/>
                    <a:pt x="912" y="88"/>
                    <a:pt x="912" y="86"/>
                  </a:cubicBezTo>
                  <a:moveTo>
                    <a:pt x="261" y="120"/>
                  </a:moveTo>
                  <a:cubicBezTo>
                    <a:pt x="261" y="150"/>
                    <a:pt x="268" y="174"/>
                    <a:pt x="313" y="174"/>
                  </a:cubicBezTo>
                  <a:cubicBezTo>
                    <a:pt x="358" y="174"/>
                    <a:pt x="364" y="150"/>
                    <a:pt x="364" y="120"/>
                  </a:cubicBezTo>
                  <a:cubicBezTo>
                    <a:pt x="364" y="89"/>
                    <a:pt x="358" y="66"/>
                    <a:pt x="313" y="66"/>
                  </a:cubicBezTo>
                  <a:cubicBezTo>
                    <a:pt x="268" y="66"/>
                    <a:pt x="261" y="89"/>
                    <a:pt x="261" y="120"/>
                  </a:cubicBezTo>
                  <a:moveTo>
                    <a:pt x="296" y="120"/>
                  </a:moveTo>
                  <a:cubicBezTo>
                    <a:pt x="296" y="97"/>
                    <a:pt x="297" y="88"/>
                    <a:pt x="313" y="88"/>
                  </a:cubicBezTo>
                  <a:cubicBezTo>
                    <a:pt x="328" y="88"/>
                    <a:pt x="329" y="97"/>
                    <a:pt x="329" y="120"/>
                  </a:cubicBezTo>
                  <a:cubicBezTo>
                    <a:pt x="329" y="143"/>
                    <a:pt x="328" y="152"/>
                    <a:pt x="313" y="152"/>
                  </a:cubicBezTo>
                  <a:cubicBezTo>
                    <a:pt x="297" y="152"/>
                    <a:pt x="296" y="143"/>
                    <a:pt x="296" y="120"/>
                  </a:cubicBezTo>
                  <a:moveTo>
                    <a:pt x="1069" y="75"/>
                  </a:moveTo>
                  <a:cubicBezTo>
                    <a:pt x="1073" y="75"/>
                    <a:pt x="1073" y="75"/>
                    <a:pt x="1073" y="75"/>
                  </a:cubicBezTo>
                  <a:cubicBezTo>
                    <a:pt x="1078" y="92"/>
                    <a:pt x="1078" y="92"/>
                    <a:pt x="1078" y="92"/>
                  </a:cubicBezTo>
                  <a:cubicBezTo>
                    <a:pt x="1064" y="92"/>
                    <a:pt x="1064" y="92"/>
                    <a:pt x="1064" y="92"/>
                  </a:cubicBezTo>
                  <a:lnTo>
                    <a:pt x="1069" y="75"/>
                  </a:lnTo>
                  <a:close/>
                  <a:moveTo>
                    <a:pt x="1131" y="95"/>
                  </a:moveTo>
                  <a:cubicBezTo>
                    <a:pt x="1131" y="106"/>
                    <a:pt x="1131" y="106"/>
                    <a:pt x="1131" y="106"/>
                  </a:cubicBezTo>
                  <a:cubicBezTo>
                    <a:pt x="1131" y="106"/>
                    <a:pt x="1128" y="106"/>
                    <a:pt x="1125" y="106"/>
                  </a:cubicBezTo>
                  <a:cubicBezTo>
                    <a:pt x="1117" y="106"/>
                    <a:pt x="1112" y="104"/>
                    <a:pt x="1112" y="91"/>
                  </a:cubicBezTo>
                  <a:cubicBezTo>
                    <a:pt x="1112" y="77"/>
                    <a:pt x="1117" y="75"/>
                    <a:pt x="1126" y="75"/>
                  </a:cubicBezTo>
                  <a:cubicBezTo>
                    <a:pt x="1130" y="75"/>
                    <a:pt x="1134" y="76"/>
                    <a:pt x="1137" y="76"/>
                  </a:cubicBezTo>
                  <a:cubicBezTo>
                    <a:pt x="1137" y="76"/>
                    <a:pt x="1138" y="76"/>
                    <a:pt x="1138" y="76"/>
                  </a:cubicBezTo>
                  <a:cubicBezTo>
                    <a:pt x="1138" y="76"/>
                    <a:pt x="1139" y="76"/>
                    <a:pt x="1139" y="76"/>
                  </a:cubicBezTo>
                  <a:cubicBezTo>
                    <a:pt x="1140" y="76"/>
                    <a:pt x="1140" y="76"/>
                    <a:pt x="1140" y="75"/>
                  </a:cubicBezTo>
                  <a:cubicBezTo>
                    <a:pt x="1141" y="72"/>
                    <a:pt x="1141" y="72"/>
                    <a:pt x="1141" y="72"/>
                  </a:cubicBezTo>
                  <a:cubicBezTo>
                    <a:pt x="1141" y="72"/>
                    <a:pt x="1141" y="71"/>
                    <a:pt x="1141" y="71"/>
                  </a:cubicBezTo>
                  <a:cubicBezTo>
                    <a:pt x="1141" y="70"/>
                    <a:pt x="1140" y="70"/>
                    <a:pt x="1140" y="70"/>
                  </a:cubicBezTo>
                  <a:cubicBezTo>
                    <a:pt x="1139" y="69"/>
                    <a:pt x="1132" y="67"/>
                    <a:pt x="1124" y="67"/>
                  </a:cubicBezTo>
                  <a:cubicBezTo>
                    <a:pt x="1108" y="67"/>
                    <a:pt x="1101" y="73"/>
                    <a:pt x="1101" y="90"/>
                  </a:cubicBezTo>
                  <a:cubicBezTo>
                    <a:pt x="1101" y="107"/>
                    <a:pt x="1107" y="113"/>
                    <a:pt x="1125" y="113"/>
                  </a:cubicBezTo>
                  <a:cubicBezTo>
                    <a:pt x="1129" y="113"/>
                    <a:pt x="1135" y="112"/>
                    <a:pt x="1137" y="112"/>
                  </a:cubicBezTo>
                  <a:cubicBezTo>
                    <a:pt x="1137" y="112"/>
                    <a:pt x="1137" y="112"/>
                    <a:pt x="1137" y="112"/>
                  </a:cubicBezTo>
                  <a:cubicBezTo>
                    <a:pt x="1140" y="111"/>
                    <a:pt x="1141" y="110"/>
                    <a:pt x="1141" y="107"/>
                  </a:cubicBezTo>
                  <a:cubicBezTo>
                    <a:pt x="1141" y="88"/>
                    <a:pt x="1141" y="88"/>
                    <a:pt x="1141" y="88"/>
                  </a:cubicBezTo>
                  <a:cubicBezTo>
                    <a:pt x="1141" y="88"/>
                    <a:pt x="1141" y="88"/>
                    <a:pt x="1140" y="88"/>
                  </a:cubicBezTo>
                  <a:cubicBezTo>
                    <a:pt x="1124" y="88"/>
                    <a:pt x="1124" y="88"/>
                    <a:pt x="1124" y="88"/>
                  </a:cubicBezTo>
                  <a:cubicBezTo>
                    <a:pt x="1123" y="88"/>
                    <a:pt x="1123" y="88"/>
                    <a:pt x="1123" y="88"/>
                  </a:cubicBezTo>
                  <a:cubicBezTo>
                    <a:pt x="1123" y="94"/>
                    <a:pt x="1123" y="94"/>
                    <a:pt x="1123" y="94"/>
                  </a:cubicBezTo>
                  <a:cubicBezTo>
                    <a:pt x="1123" y="94"/>
                    <a:pt x="1123" y="95"/>
                    <a:pt x="1124" y="95"/>
                  </a:cubicBezTo>
                  <a:lnTo>
                    <a:pt x="1131" y="95"/>
                  </a:lnTo>
                  <a:close/>
                  <a:moveTo>
                    <a:pt x="1079" y="68"/>
                  </a:moveTo>
                  <a:cubicBezTo>
                    <a:pt x="1062" y="68"/>
                    <a:pt x="1062" y="68"/>
                    <a:pt x="1062" y="68"/>
                  </a:cubicBezTo>
                  <a:cubicBezTo>
                    <a:pt x="1062" y="68"/>
                    <a:pt x="1062" y="69"/>
                    <a:pt x="1062" y="69"/>
                  </a:cubicBezTo>
                  <a:cubicBezTo>
                    <a:pt x="1047" y="111"/>
                    <a:pt x="1047" y="111"/>
                    <a:pt x="1047" y="111"/>
                  </a:cubicBezTo>
                  <a:cubicBezTo>
                    <a:pt x="1047" y="111"/>
                    <a:pt x="1047" y="112"/>
                    <a:pt x="1047" y="112"/>
                  </a:cubicBezTo>
                  <a:cubicBezTo>
                    <a:pt x="1047" y="112"/>
                    <a:pt x="1047" y="112"/>
                    <a:pt x="1048" y="112"/>
                  </a:cubicBezTo>
                  <a:cubicBezTo>
                    <a:pt x="1058" y="112"/>
                    <a:pt x="1058" y="112"/>
                    <a:pt x="1058" y="112"/>
                  </a:cubicBezTo>
                  <a:cubicBezTo>
                    <a:pt x="1059" y="112"/>
                    <a:pt x="1059" y="112"/>
                    <a:pt x="1059" y="112"/>
                  </a:cubicBezTo>
                  <a:cubicBezTo>
                    <a:pt x="1062" y="99"/>
                    <a:pt x="1062" y="99"/>
                    <a:pt x="1062" y="99"/>
                  </a:cubicBezTo>
                  <a:cubicBezTo>
                    <a:pt x="1080" y="99"/>
                    <a:pt x="1080" y="99"/>
                    <a:pt x="1080" y="99"/>
                  </a:cubicBezTo>
                  <a:cubicBezTo>
                    <a:pt x="1083" y="112"/>
                    <a:pt x="1083" y="112"/>
                    <a:pt x="1083" y="112"/>
                  </a:cubicBezTo>
                  <a:cubicBezTo>
                    <a:pt x="1083" y="112"/>
                    <a:pt x="1083" y="112"/>
                    <a:pt x="1083" y="112"/>
                  </a:cubicBezTo>
                  <a:cubicBezTo>
                    <a:pt x="1093" y="112"/>
                    <a:pt x="1093" y="112"/>
                    <a:pt x="1093" y="112"/>
                  </a:cubicBezTo>
                  <a:cubicBezTo>
                    <a:pt x="1094" y="112"/>
                    <a:pt x="1094" y="112"/>
                    <a:pt x="1094" y="112"/>
                  </a:cubicBezTo>
                  <a:cubicBezTo>
                    <a:pt x="1094" y="112"/>
                    <a:pt x="1094" y="111"/>
                    <a:pt x="1094" y="111"/>
                  </a:cubicBezTo>
                  <a:cubicBezTo>
                    <a:pt x="1080" y="69"/>
                    <a:pt x="1080" y="69"/>
                    <a:pt x="1080" y="69"/>
                  </a:cubicBezTo>
                  <a:cubicBezTo>
                    <a:pt x="1080" y="69"/>
                    <a:pt x="1080" y="68"/>
                    <a:pt x="1079" y="68"/>
                  </a:cubicBezTo>
                  <a:moveTo>
                    <a:pt x="70" y="68"/>
                  </a:moveTo>
                  <a:cubicBezTo>
                    <a:pt x="70" y="98"/>
                    <a:pt x="70" y="98"/>
                    <a:pt x="70" y="98"/>
                  </a:cubicBezTo>
                  <a:cubicBezTo>
                    <a:pt x="70" y="119"/>
                    <a:pt x="61" y="132"/>
                    <a:pt x="41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43" y="172"/>
                    <a:pt x="43" y="172"/>
                    <a:pt x="43" y="172"/>
                  </a:cubicBezTo>
                  <a:cubicBezTo>
                    <a:pt x="81" y="172"/>
                    <a:pt x="111" y="145"/>
                    <a:pt x="111" y="101"/>
                  </a:cubicBezTo>
                  <a:cubicBezTo>
                    <a:pt x="111" y="68"/>
                    <a:pt x="111" y="68"/>
                    <a:pt x="111" y="68"/>
                  </a:cubicBezTo>
                  <a:lnTo>
                    <a:pt x="7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757238" y="812800"/>
              <a:ext cx="77787" cy="120650"/>
            </a:xfrm>
            <a:custGeom>
              <a:avLst/>
              <a:gdLst>
                <a:gd name="T0" fmla="*/ 49 w 49"/>
                <a:gd name="T1" fmla="*/ 0 h 76"/>
                <a:gd name="T2" fmla="*/ 49 w 49"/>
                <a:gd name="T3" fmla="*/ 9 h 76"/>
                <a:gd name="T4" fmla="*/ 11 w 49"/>
                <a:gd name="T5" fmla="*/ 9 h 76"/>
                <a:gd name="T6" fmla="*/ 11 w 49"/>
                <a:gd name="T7" fmla="*/ 33 h 76"/>
                <a:gd name="T8" fmla="*/ 46 w 49"/>
                <a:gd name="T9" fmla="*/ 33 h 76"/>
                <a:gd name="T10" fmla="*/ 46 w 49"/>
                <a:gd name="T11" fmla="*/ 43 h 76"/>
                <a:gd name="T12" fmla="*/ 11 w 49"/>
                <a:gd name="T13" fmla="*/ 43 h 76"/>
                <a:gd name="T14" fmla="*/ 11 w 49"/>
                <a:gd name="T15" fmla="*/ 76 h 76"/>
                <a:gd name="T16" fmla="*/ 0 w 49"/>
                <a:gd name="T17" fmla="*/ 76 h 76"/>
                <a:gd name="T18" fmla="*/ 0 w 49"/>
                <a:gd name="T19" fmla="*/ 0 h 76"/>
                <a:gd name="T20" fmla="*/ 49 w 49"/>
                <a:gd name="T2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76">
                  <a:moveTo>
                    <a:pt x="49" y="0"/>
                  </a:moveTo>
                  <a:lnTo>
                    <a:pt x="49" y="9"/>
                  </a:lnTo>
                  <a:lnTo>
                    <a:pt x="11" y="9"/>
                  </a:lnTo>
                  <a:lnTo>
                    <a:pt x="11" y="33"/>
                  </a:lnTo>
                  <a:lnTo>
                    <a:pt x="46" y="33"/>
                  </a:lnTo>
                  <a:lnTo>
                    <a:pt x="46" y="43"/>
                  </a:lnTo>
                  <a:lnTo>
                    <a:pt x="11" y="43"/>
                  </a:lnTo>
                  <a:lnTo>
                    <a:pt x="11" y="76"/>
                  </a:lnTo>
                  <a:lnTo>
                    <a:pt x="0" y="76"/>
                  </a:lnTo>
                  <a:lnTo>
                    <a:pt x="0" y="0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auto">
            <a:xfrm>
              <a:off x="857250" y="850900"/>
              <a:ext cx="47625" cy="82550"/>
            </a:xfrm>
            <a:custGeom>
              <a:avLst/>
              <a:gdLst>
                <a:gd name="T0" fmla="*/ 23 w 23"/>
                <a:gd name="T1" fmla="*/ 1 h 40"/>
                <a:gd name="T2" fmla="*/ 23 w 23"/>
                <a:gd name="T3" fmla="*/ 9 h 40"/>
                <a:gd name="T4" fmla="*/ 19 w 23"/>
                <a:gd name="T5" fmla="*/ 8 h 40"/>
                <a:gd name="T6" fmla="*/ 8 w 23"/>
                <a:gd name="T7" fmla="*/ 20 h 40"/>
                <a:gd name="T8" fmla="*/ 8 w 23"/>
                <a:gd name="T9" fmla="*/ 40 h 40"/>
                <a:gd name="T10" fmla="*/ 0 w 23"/>
                <a:gd name="T11" fmla="*/ 40 h 40"/>
                <a:gd name="T12" fmla="*/ 0 w 23"/>
                <a:gd name="T13" fmla="*/ 1 h 40"/>
                <a:gd name="T14" fmla="*/ 8 w 23"/>
                <a:gd name="T15" fmla="*/ 1 h 40"/>
                <a:gd name="T16" fmla="*/ 8 w 23"/>
                <a:gd name="T17" fmla="*/ 7 h 40"/>
                <a:gd name="T18" fmla="*/ 8 w 23"/>
                <a:gd name="T19" fmla="*/ 7 h 40"/>
                <a:gd name="T20" fmla="*/ 20 w 23"/>
                <a:gd name="T21" fmla="*/ 0 h 40"/>
                <a:gd name="T22" fmla="*/ 23 w 23"/>
                <a:gd name="T2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23" y="1"/>
                  </a:moveTo>
                  <a:cubicBezTo>
                    <a:pt x="23" y="9"/>
                    <a:pt x="23" y="9"/>
                    <a:pt x="23" y="9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1" y="8"/>
                    <a:pt x="8" y="12"/>
                    <a:pt x="8" y="2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3"/>
                    <a:pt x="15" y="0"/>
                    <a:pt x="20" y="0"/>
                  </a:cubicBezTo>
                  <a:cubicBezTo>
                    <a:pt x="21" y="0"/>
                    <a:pt x="22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8"/>
            <p:cNvSpPr>
              <a:spLocks noEditPoints="1"/>
            </p:cNvSpPr>
            <p:nvPr userDrawn="1"/>
          </p:nvSpPr>
          <p:spPr bwMode="auto">
            <a:xfrm>
              <a:off x="917575" y="850900"/>
              <a:ext cx="82550" cy="84138"/>
            </a:xfrm>
            <a:custGeom>
              <a:avLst/>
              <a:gdLst>
                <a:gd name="T0" fmla="*/ 40 w 40"/>
                <a:gd name="T1" fmla="*/ 21 h 41"/>
                <a:gd name="T2" fmla="*/ 40 w 40"/>
                <a:gd name="T3" fmla="*/ 23 h 41"/>
                <a:gd name="T4" fmla="*/ 8 w 40"/>
                <a:gd name="T5" fmla="*/ 23 h 41"/>
                <a:gd name="T6" fmla="*/ 22 w 40"/>
                <a:gd name="T7" fmla="*/ 35 h 41"/>
                <a:gd name="T8" fmla="*/ 32 w 40"/>
                <a:gd name="T9" fmla="*/ 29 h 41"/>
                <a:gd name="T10" fmla="*/ 38 w 40"/>
                <a:gd name="T11" fmla="*/ 33 h 41"/>
                <a:gd name="T12" fmla="*/ 21 w 40"/>
                <a:gd name="T13" fmla="*/ 41 h 41"/>
                <a:gd name="T14" fmla="*/ 0 w 40"/>
                <a:gd name="T15" fmla="*/ 21 h 41"/>
                <a:gd name="T16" fmla="*/ 21 w 40"/>
                <a:gd name="T17" fmla="*/ 0 h 41"/>
                <a:gd name="T18" fmla="*/ 40 w 40"/>
                <a:gd name="T19" fmla="*/ 21 h 41"/>
                <a:gd name="T20" fmla="*/ 32 w 40"/>
                <a:gd name="T21" fmla="*/ 17 h 41"/>
                <a:gd name="T22" fmla="*/ 21 w 40"/>
                <a:gd name="T23" fmla="*/ 6 h 41"/>
                <a:gd name="T24" fmla="*/ 8 w 40"/>
                <a:gd name="T25" fmla="*/ 17 h 41"/>
                <a:gd name="T26" fmla="*/ 32 w 40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40" y="21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5" y="35"/>
                    <a:pt x="22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4" y="39"/>
                    <a:pt x="28" y="41"/>
                    <a:pt x="21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32" y="0"/>
                    <a:pt x="40" y="8"/>
                    <a:pt x="40" y="21"/>
                  </a:cubicBezTo>
                  <a:close/>
                  <a:moveTo>
                    <a:pt x="32" y="17"/>
                  </a:moveTo>
                  <a:cubicBezTo>
                    <a:pt x="32" y="10"/>
                    <a:pt x="27" y="6"/>
                    <a:pt x="21" y="6"/>
                  </a:cubicBezTo>
                  <a:cubicBezTo>
                    <a:pt x="13" y="6"/>
                    <a:pt x="8" y="13"/>
                    <a:pt x="8" y="17"/>
                  </a:cubicBezTo>
                  <a:lnTo>
                    <a:pt x="3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1019175" y="850900"/>
              <a:ext cx="79375" cy="84138"/>
            </a:xfrm>
            <a:custGeom>
              <a:avLst/>
              <a:gdLst>
                <a:gd name="T0" fmla="*/ 39 w 39"/>
                <a:gd name="T1" fmla="*/ 21 h 41"/>
                <a:gd name="T2" fmla="*/ 39 w 39"/>
                <a:gd name="T3" fmla="*/ 23 h 41"/>
                <a:gd name="T4" fmla="*/ 8 w 39"/>
                <a:gd name="T5" fmla="*/ 23 h 41"/>
                <a:gd name="T6" fmla="*/ 21 w 39"/>
                <a:gd name="T7" fmla="*/ 35 h 41"/>
                <a:gd name="T8" fmla="*/ 32 w 39"/>
                <a:gd name="T9" fmla="*/ 29 h 41"/>
                <a:gd name="T10" fmla="*/ 37 w 39"/>
                <a:gd name="T11" fmla="*/ 33 h 41"/>
                <a:gd name="T12" fmla="*/ 20 w 39"/>
                <a:gd name="T13" fmla="*/ 41 h 41"/>
                <a:gd name="T14" fmla="*/ 0 w 39"/>
                <a:gd name="T15" fmla="*/ 21 h 41"/>
                <a:gd name="T16" fmla="*/ 20 w 39"/>
                <a:gd name="T17" fmla="*/ 0 h 41"/>
                <a:gd name="T18" fmla="*/ 39 w 39"/>
                <a:gd name="T19" fmla="*/ 21 h 41"/>
                <a:gd name="T20" fmla="*/ 31 w 39"/>
                <a:gd name="T21" fmla="*/ 17 h 41"/>
                <a:gd name="T22" fmla="*/ 20 w 39"/>
                <a:gd name="T23" fmla="*/ 6 h 41"/>
                <a:gd name="T24" fmla="*/ 8 w 39"/>
                <a:gd name="T25" fmla="*/ 17 h 41"/>
                <a:gd name="T26" fmla="*/ 31 w 39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1">
                  <a:moveTo>
                    <a:pt x="39" y="21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4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3" y="39"/>
                    <a:pt x="28" y="41"/>
                    <a:pt x="20" y="41"/>
                  </a:cubicBezTo>
                  <a:cubicBezTo>
                    <a:pt x="8" y="41"/>
                    <a:pt x="0" y="33"/>
                    <a:pt x="0" y="21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39" y="8"/>
                    <a:pt x="39" y="21"/>
                  </a:cubicBezTo>
                  <a:close/>
                  <a:moveTo>
                    <a:pt x="31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0"/>
            <p:cNvSpPr>
              <a:spLocks noEditPoints="1"/>
            </p:cNvSpPr>
            <p:nvPr userDrawn="1"/>
          </p:nvSpPr>
          <p:spPr bwMode="auto">
            <a:xfrm>
              <a:off x="1120775" y="804863"/>
              <a:ext cx="84137" cy="130175"/>
            </a:xfrm>
            <a:custGeom>
              <a:avLst/>
              <a:gdLst>
                <a:gd name="T0" fmla="*/ 41 w 41"/>
                <a:gd name="T1" fmla="*/ 0 h 63"/>
                <a:gd name="T2" fmla="*/ 41 w 41"/>
                <a:gd name="T3" fmla="*/ 62 h 63"/>
                <a:gd name="T4" fmla="*/ 33 w 41"/>
                <a:gd name="T5" fmla="*/ 62 h 63"/>
                <a:gd name="T6" fmla="*/ 33 w 41"/>
                <a:gd name="T7" fmla="*/ 57 h 63"/>
                <a:gd name="T8" fmla="*/ 33 w 41"/>
                <a:gd name="T9" fmla="*/ 57 h 63"/>
                <a:gd name="T10" fmla="*/ 20 w 41"/>
                <a:gd name="T11" fmla="*/ 63 h 63"/>
                <a:gd name="T12" fmla="*/ 0 w 41"/>
                <a:gd name="T13" fmla="*/ 43 h 63"/>
                <a:gd name="T14" fmla="*/ 20 w 41"/>
                <a:gd name="T15" fmla="*/ 22 h 63"/>
                <a:gd name="T16" fmla="*/ 33 w 41"/>
                <a:gd name="T17" fmla="*/ 29 h 63"/>
                <a:gd name="T18" fmla="*/ 33 w 41"/>
                <a:gd name="T19" fmla="*/ 29 h 63"/>
                <a:gd name="T20" fmla="*/ 33 w 41"/>
                <a:gd name="T21" fmla="*/ 0 h 63"/>
                <a:gd name="T22" fmla="*/ 41 w 41"/>
                <a:gd name="T23" fmla="*/ 0 h 63"/>
                <a:gd name="T24" fmla="*/ 21 w 41"/>
                <a:gd name="T25" fmla="*/ 56 h 63"/>
                <a:gd name="T26" fmla="*/ 33 w 41"/>
                <a:gd name="T27" fmla="*/ 43 h 63"/>
                <a:gd name="T28" fmla="*/ 20 w 41"/>
                <a:gd name="T29" fmla="*/ 29 h 63"/>
                <a:gd name="T30" fmla="*/ 8 w 41"/>
                <a:gd name="T31" fmla="*/ 43 h 63"/>
                <a:gd name="T32" fmla="*/ 21 w 41"/>
                <a:gd name="T33" fmla="*/ 5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63">
                  <a:moveTo>
                    <a:pt x="41" y="0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0" y="61"/>
                    <a:pt x="25" y="63"/>
                    <a:pt x="20" y="63"/>
                  </a:cubicBezTo>
                  <a:cubicBezTo>
                    <a:pt x="8" y="63"/>
                    <a:pt x="0" y="55"/>
                    <a:pt x="0" y="43"/>
                  </a:cubicBezTo>
                  <a:cubicBezTo>
                    <a:pt x="0" y="30"/>
                    <a:pt x="8" y="22"/>
                    <a:pt x="20" y="22"/>
                  </a:cubicBezTo>
                  <a:cubicBezTo>
                    <a:pt x="25" y="22"/>
                    <a:pt x="30" y="24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41" y="0"/>
                  </a:lnTo>
                  <a:close/>
                  <a:moveTo>
                    <a:pt x="21" y="56"/>
                  </a:moveTo>
                  <a:cubicBezTo>
                    <a:pt x="28" y="56"/>
                    <a:pt x="33" y="51"/>
                    <a:pt x="33" y="43"/>
                  </a:cubicBezTo>
                  <a:cubicBezTo>
                    <a:pt x="33" y="34"/>
                    <a:pt x="28" y="29"/>
                    <a:pt x="20" y="29"/>
                  </a:cubicBezTo>
                  <a:cubicBezTo>
                    <a:pt x="13" y="29"/>
                    <a:pt x="8" y="34"/>
                    <a:pt x="8" y="43"/>
                  </a:cubicBezTo>
                  <a:cubicBezTo>
                    <a:pt x="8" y="51"/>
                    <a:pt x="13" y="56"/>
                    <a:pt x="21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230313" y="850900"/>
              <a:ext cx="84137" cy="84138"/>
            </a:xfrm>
            <a:custGeom>
              <a:avLst/>
              <a:gdLst>
                <a:gd name="T0" fmla="*/ 41 w 41"/>
                <a:gd name="T1" fmla="*/ 21 h 41"/>
                <a:gd name="T2" fmla="*/ 20 w 41"/>
                <a:gd name="T3" fmla="*/ 41 h 41"/>
                <a:gd name="T4" fmla="*/ 0 w 41"/>
                <a:gd name="T5" fmla="*/ 21 h 41"/>
                <a:gd name="T6" fmla="*/ 20 w 41"/>
                <a:gd name="T7" fmla="*/ 0 h 41"/>
                <a:gd name="T8" fmla="*/ 41 w 41"/>
                <a:gd name="T9" fmla="*/ 21 h 41"/>
                <a:gd name="T10" fmla="*/ 20 w 41"/>
                <a:gd name="T11" fmla="*/ 34 h 41"/>
                <a:gd name="T12" fmla="*/ 33 w 41"/>
                <a:gd name="T13" fmla="*/ 21 h 41"/>
                <a:gd name="T14" fmla="*/ 20 w 41"/>
                <a:gd name="T15" fmla="*/ 7 h 41"/>
                <a:gd name="T16" fmla="*/ 8 w 41"/>
                <a:gd name="T17" fmla="*/ 21 h 41"/>
                <a:gd name="T18" fmla="*/ 20 w 41"/>
                <a:gd name="T19" fmla="*/ 3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41" y="21"/>
                  </a:moveTo>
                  <a:cubicBezTo>
                    <a:pt x="41" y="32"/>
                    <a:pt x="32" y="41"/>
                    <a:pt x="20" y="41"/>
                  </a:cubicBezTo>
                  <a:cubicBezTo>
                    <a:pt x="9" y="41"/>
                    <a:pt x="0" y="32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1" y="9"/>
                    <a:pt x="41" y="21"/>
                  </a:cubicBezTo>
                  <a:close/>
                  <a:moveTo>
                    <a:pt x="20" y="34"/>
                  </a:moveTo>
                  <a:cubicBezTo>
                    <a:pt x="28" y="34"/>
                    <a:pt x="33" y="29"/>
                    <a:pt x="33" y="21"/>
                  </a:cubicBezTo>
                  <a:cubicBezTo>
                    <a:pt x="33" y="12"/>
                    <a:pt x="28" y="7"/>
                    <a:pt x="20" y="7"/>
                  </a:cubicBezTo>
                  <a:cubicBezTo>
                    <a:pt x="13" y="7"/>
                    <a:pt x="8" y="13"/>
                    <a:pt x="8" y="21"/>
                  </a:cubicBezTo>
                  <a:cubicBezTo>
                    <a:pt x="8" y="29"/>
                    <a:pt x="13" y="34"/>
                    <a:pt x="2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2"/>
            <p:cNvSpPr>
              <a:spLocks/>
            </p:cNvSpPr>
            <p:nvPr userDrawn="1"/>
          </p:nvSpPr>
          <p:spPr bwMode="auto">
            <a:xfrm>
              <a:off x="1339850" y="850900"/>
              <a:ext cx="122237" cy="82550"/>
            </a:xfrm>
            <a:custGeom>
              <a:avLst/>
              <a:gdLst>
                <a:gd name="T0" fmla="*/ 32 w 59"/>
                <a:gd name="T1" fmla="*/ 7 h 40"/>
                <a:gd name="T2" fmla="*/ 44 w 59"/>
                <a:gd name="T3" fmla="*/ 0 h 40"/>
                <a:gd name="T4" fmla="*/ 59 w 59"/>
                <a:gd name="T5" fmla="*/ 17 h 40"/>
                <a:gd name="T6" fmla="*/ 59 w 59"/>
                <a:gd name="T7" fmla="*/ 40 h 40"/>
                <a:gd name="T8" fmla="*/ 52 w 59"/>
                <a:gd name="T9" fmla="*/ 40 h 40"/>
                <a:gd name="T10" fmla="*/ 52 w 59"/>
                <a:gd name="T11" fmla="*/ 18 h 40"/>
                <a:gd name="T12" fmla="*/ 43 w 59"/>
                <a:gd name="T13" fmla="*/ 7 h 40"/>
                <a:gd name="T14" fmla="*/ 33 w 59"/>
                <a:gd name="T15" fmla="*/ 18 h 40"/>
                <a:gd name="T16" fmla="*/ 33 w 59"/>
                <a:gd name="T17" fmla="*/ 40 h 40"/>
                <a:gd name="T18" fmla="*/ 26 w 59"/>
                <a:gd name="T19" fmla="*/ 40 h 40"/>
                <a:gd name="T20" fmla="*/ 26 w 59"/>
                <a:gd name="T21" fmla="*/ 19 h 40"/>
                <a:gd name="T22" fmla="*/ 18 w 59"/>
                <a:gd name="T23" fmla="*/ 7 h 40"/>
                <a:gd name="T24" fmla="*/ 8 w 59"/>
                <a:gd name="T25" fmla="*/ 20 h 40"/>
                <a:gd name="T26" fmla="*/ 8 w 59"/>
                <a:gd name="T27" fmla="*/ 40 h 40"/>
                <a:gd name="T28" fmla="*/ 0 w 59"/>
                <a:gd name="T29" fmla="*/ 40 h 40"/>
                <a:gd name="T30" fmla="*/ 0 w 59"/>
                <a:gd name="T31" fmla="*/ 1 h 40"/>
                <a:gd name="T32" fmla="*/ 7 w 59"/>
                <a:gd name="T33" fmla="*/ 1 h 40"/>
                <a:gd name="T34" fmla="*/ 7 w 59"/>
                <a:gd name="T35" fmla="*/ 7 h 40"/>
                <a:gd name="T36" fmla="*/ 7 w 59"/>
                <a:gd name="T37" fmla="*/ 7 h 40"/>
                <a:gd name="T38" fmla="*/ 20 w 59"/>
                <a:gd name="T39" fmla="*/ 0 h 40"/>
                <a:gd name="T40" fmla="*/ 32 w 59"/>
                <a:gd name="T41" fmla="*/ 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" h="40">
                  <a:moveTo>
                    <a:pt x="32" y="7"/>
                  </a:moveTo>
                  <a:cubicBezTo>
                    <a:pt x="34" y="3"/>
                    <a:pt x="39" y="0"/>
                    <a:pt x="44" y="0"/>
                  </a:cubicBezTo>
                  <a:cubicBezTo>
                    <a:pt x="54" y="0"/>
                    <a:pt x="59" y="6"/>
                    <a:pt x="59" y="17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0"/>
                    <a:pt x="49" y="7"/>
                    <a:pt x="43" y="7"/>
                  </a:cubicBezTo>
                  <a:cubicBezTo>
                    <a:pt x="37" y="7"/>
                    <a:pt x="33" y="11"/>
                    <a:pt x="33" y="18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0"/>
                    <a:pt x="23" y="7"/>
                    <a:pt x="18" y="7"/>
                  </a:cubicBezTo>
                  <a:cubicBezTo>
                    <a:pt x="12" y="7"/>
                    <a:pt x="8" y="12"/>
                    <a:pt x="8" y="2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9" y="3"/>
                    <a:pt x="14" y="0"/>
                    <a:pt x="20" y="0"/>
                  </a:cubicBezTo>
                  <a:cubicBezTo>
                    <a:pt x="26" y="0"/>
                    <a:pt x="29" y="2"/>
                    <a:pt x="3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3"/>
            <p:cNvSpPr>
              <a:spLocks noEditPoints="1"/>
            </p:cNvSpPr>
            <p:nvPr userDrawn="1"/>
          </p:nvSpPr>
          <p:spPr bwMode="auto">
            <a:xfrm>
              <a:off x="1538288" y="850900"/>
              <a:ext cx="73025" cy="84138"/>
            </a:xfrm>
            <a:custGeom>
              <a:avLst/>
              <a:gdLst>
                <a:gd name="T0" fmla="*/ 34 w 35"/>
                <a:gd name="T1" fmla="*/ 13 h 41"/>
                <a:gd name="T2" fmla="*/ 34 w 35"/>
                <a:gd name="T3" fmla="*/ 34 h 41"/>
                <a:gd name="T4" fmla="*/ 35 w 35"/>
                <a:gd name="T5" fmla="*/ 40 h 41"/>
                <a:gd name="T6" fmla="*/ 28 w 35"/>
                <a:gd name="T7" fmla="*/ 40 h 41"/>
                <a:gd name="T8" fmla="*/ 28 w 35"/>
                <a:gd name="T9" fmla="*/ 34 h 41"/>
                <a:gd name="T10" fmla="*/ 28 w 35"/>
                <a:gd name="T11" fmla="*/ 34 h 41"/>
                <a:gd name="T12" fmla="*/ 14 w 35"/>
                <a:gd name="T13" fmla="*/ 41 h 41"/>
                <a:gd name="T14" fmla="*/ 0 w 35"/>
                <a:gd name="T15" fmla="*/ 29 h 41"/>
                <a:gd name="T16" fmla="*/ 22 w 35"/>
                <a:gd name="T17" fmla="*/ 16 h 41"/>
                <a:gd name="T18" fmla="*/ 28 w 35"/>
                <a:gd name="T19" fmla="*/ 16 h 41"/>
                <a:gd name="T20" fmla="*/ 28 w 35"/>
                <a:gd name="T21" fmla="*/ 14 h 41"/>
                <a:gd name="T22" fmla="*/ 18 w 35"/>
                <a:gd name="T23" fmla="*/ 6 h 41"/>
                <a:gd name="T24" fmla="*/ 7 w 35"/>
                <a:gd name="T25" fmla="*/ 10 h 41"/>
                <a:gd name="T26" fmla="*/ 3 w 35"/>
                <a:gd name="T27" fmla="*/ 6 h 41"/>
                <a:gd name="T28" fmla="*/ 18 w 35"/>
                <a:gd name="T29" fmla="*/ 0 h 41"/>
                <a:gd name="T30" fmla="*/ 34 w 35"/>
                <a:gd name="T31" fmla="*/ 13 h 41"/>
                <a:gd name="T32" fmla="*/ 16 w 35"/>
                <a:gd name="T33" fmla="*/ 35 h 41"/>
                <a:gd name="T34" fmla="*/ 28 w 35"/>
                <a:gd name="T35" fmla="*/ 23 h 41"/>
                <a:gd name="T36" fmla="*/ 28 w 35"/>
                <a:gd name="T37" fmla="*/ 21 h 41"/>
                <a:gd name="T38" fmla="*/ 23 w 35"/>
                <a:gd name="T39" fmla="*/ 21 h 41"/>
                <a:gd name="T40" fmla="*/ 8 w 35"/>
                <a:gd name="T41" fmla="*/ 29 h 41"/>
                <a:gd name="T42" fmla="*/ 16 w 35"/>
                <a:gd name="T4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41">
                  <a:moveTo>
                    <a:pt x="34" y="13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5" y="38"/>
                    <a:pt x="35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8"/>
                    <a:pt x="28" y="37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4" y="39"/>
                    <a:pt x="20" y="41"/>
                    <a:pt x="14" y="41"/>
                  </a:cubicBezTo>
                  <a:cubicBezTo>
                    <a:pt x="6" y="41"/>
                    <a:pt x="0" y="37"/>
                    <a:pt x="0" y="29"/>
                  </a:cubicBezTo>
                  <a:cubicBezTo>
                    <a:pt x="0" y="22"/>
                    <a:pt x="7" y="16"/>
                    <a:pt x="22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9"/>
                    <a:pt x="24" y="6"/>
                    <a:pt x="18" y="6"/>
                  </a:cubicBezTo>
                  <a:cubicBezTo>
                    <a:pt x="14" y="6"/>
                    <a:pt x="11" y="7"/>
                    <a:pt x="7" y="10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7" y="2"/>
                    <a:pt x="12" y="0"/>
                    <a:pt x="18" y="0"/>
                  </a:cubicBezTo>
                  <a:cubicBezTo>
                    <a:pt x="30" y="0"/>
                    <a:pt x="34" y="7"/>
                    <a:pt x="34" y="13"/>
                  </a:cubicBezTo>
                  <a:close/>
                  <a:moveTo>
                    <a:pt x="16" y="35"/>
                  </a:moveTo>
                  <a:cubicBezTo>
                    <a:pt x="23" y="35"/>
                    <a:pt x="28" y="31"/>
                    <a:pt x="28" y="23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11" y="21"/>
                    <a:pt x="8" y="25"/>
                    <a:pt x="8" y="29"/>
                  </a:cubicBezTo>
                  <a:cubicBezTo>
                    <a:pt x="8" y="33"/>
                    <a:pt x="11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4"/>
            <p:cNvSpPr>
              <a:spLocks/>
            </p:cNvSpPr>
            <p:nvPr userDrawn="1"/>
          </p:nvSpPr>
          <p:spPr bwMode="auto">
            <a:xfrm>
              <a:off x="1628775" y="850900"/>
              <a:ext cx="65087" cy="84138"/>
            </a:xfrm>
            <a:custGeom>
              <a:avLst/>
              <a:gdLst>
                <a:gd name="T0" fmla="*/ 30 w 31"/>
                <a:gd name="T1" fmla="*/ 6 h 41"/>
                <a:gd name="T2" fmla="*/ 25 w 31"/>
                <a:gd name="T3" fmla="*/ 11 h 41"/>
                <a:gd name="T4" fmla="*/ 17 w 31"/>
                <a:gd name="T5" fmla="*/ 7 h 41"/>
                <a:gd name="T6" fmla="*/ 10 w 31"/>
                <a:gd name="T7" fmla="*/ 11 h 41"/>
                <a:gd name="T8" fmla="*/ 18 w 31"/>
                <a:gd name="T9" fmla="*/ 17 h 41"/>
                <a:gd name="T10" fmla="*/ 31 w 31"/>
                <a:gd name="T11" fmla="*/ 29 h 41"/>
                <a:gd name="T12" fmla="*/ 15 w 31"/>
                <a:gd name="T13" fmla="*/ 41 h 41"/>
                <a:gd name="T14" fmla="*/ 0 w 31"/>
                <a:gd name="T15" fmla="*/ 34 h 41"/>
                <a:gd name="T16" fmla="*/ 6 w 31"/>
                <a:gd name="T17" fmla="*/ 30 h 41"/>
                <a:gd name="T18" fmla="*/ 16 w 31"/>
                <a:gd name="T19" fmla="*/ 34 h 41"/>
                <a:gd name="T20" fmla="*/ 23 w 31"/>
                <a:gd name="T21" fmla="*/ 29 h 41"/>
                <a:gd name="T22" fmla="*/ 16 w 31"/>
                <a:gd name="T23" fmla="*/ 24 h 41"/>
                <a:gd name="T24" fmla="*/ 2 w 31"/>
                <a:gd name="T25" fmla="*/ 12 h 41"/>
                <a:gd name="T26" fmla="*/ 17 w 31"/>
                <a:gd name="T27" fmla="*/ 0 h 41"/>
                <a:gd name="T28" fmla="*/ 30 w 31"/>
                <a:gd name="T2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41">
                  <a:moveTo>
                    <a:pt x="30" y="6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23" y="9"/>
                    <a:pt x="20" y="7"/>
                    <a:pt x="17" y="7"/>
                  </a:cubicBezTo>
                  <a:cubicBezTo>
                    <a:pt x="13" y="7"/>
                    <a:pt x="10" y="9"/>
                    <a:pt x="10" y="11"/>
                  </a:cubicBezTo>
                  <a:cubicBezTo>
                    <a:pt x="10" y="15"/>
                    <a:pt x="13" y="16"/>
                    <a:pt x="18" y="17"/>
                  </a:cubicBezTo>
                  <a:cubicBezTo>
                    <a:pt x="27" y="19"/>
                    <a:pt x="31" y="22"/>
                    <a:pt x="31" y="29"/>
                  </a:cubicBezTo>
                  <a:cubicBezTo>
                    <a:pt x="31" y="37"/>
                    <a:pt x="24" y="41"/>
                    <a:pt x="15" y="41"/>
                  </a:cubicBezTo>
                  <a:cubicBezTo>
                    <a:pt x="8" y="41"/>
                    <a:pt x="4" y="39"/>
                    <a:pt x="0" y="34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9" y="33"/>
                    <a:pt x="12" y="34"/>
                    <a:pt x="16" y="34"/>
                  </a:cubicBezTo>
                  <a:cubicBezTo>
                    <a:pt x="20" y="34"/>
                    <a:pt x="23" y="32"/>
                    <a:pt x="23" y="29"/>
                  </a:cubicBezTo>
                  <a:cubicBezTo>
                    <a:pt x="23" y="26"/>
                    <a:pt x="21" y="25"/>
                    <a:pt x="16" y="24"/>
                  </a:cubicBezTo>
                  <a:cubicBezTo>
                    <a:pt x="7" y="22"/>
                    <a:pt x="2" y="19"/>
                    <a:pt x="2" y="12"/>
                  </a:cubicBezTo>
                  <a:cubicBezTo>
                    <a:pt x="2" y="4"/>
                    <a:pt x="10" y="0"/>
                    <a:pt x="17" y="0"/>
                  </a:cubicBezTo>
                  <a:cubicBezTo>
                    <a:pt x="23" y="0"/>
                    <a:pt x="28" y="2"/>
                    <a:pt x="3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5"/>
            <p:cNvSpPr>
              <a:spLocks noEditPoints="1"/>
            </p:cNvSpPr>
            <p:nvPr userDrawn="1"/>
          </p:nvSpPr>
          <p:spPr bwMode="auto">
            <a:xfrm>
              <a:off x="1766888" y="850900"/>
              <a:ext cx="71437" cy="84138"/>
            </a:xfrm>
            <a:custGeom>
              <a:avLst/>
              <a:gdLst>
                <a:gd name="T0" fmla="*/ 34 w 35"/>
                <a:gd name="T1" fmla="*/ 13 h 41"/>
                <a:gd name="T2" fmla="*/ 34 w 35"/>
                <a:gd name="T3" fmla="*/ 34 h 41"/>
                <a:gd name="T4" fmla="*/ 35 w 35"/>
                <a:gd name="T5" fmla="*/ 40 h 41"/>
                <a:gd name="T6" fmla="*/ 28 w 35"/>
                <a:gd name="T7" fmla="*/ 40 h 41"/>
                <a:gd name="T8" fmla="*/ 28 w 35"/>
                <a:gd name="T9" fmla="*/ 34 h 41"/>
                <a:gd name="T10" fmla="*/ 28 w 35"/>
                <a:gd name="T11" fmla="*/ 34 h 41"/>
                <a:gd name="T12" fmla="*/ 14 w 35"/>
                <a:gd name="T13" fmla="*/ 41 h 41"/>
                <a:gd name="T14" fmla="*/ 0 w 35"/>
                <a:gd name="T15" fmla="*/ 29 h 41"/>
                <a:gd name="T16" fmla="*/ 22 w 35"/>
                <a:gd name="T17" fmla="*/ 16 h 41"/>
                <a:gd name="T18" fmla="*/ 27 w 35"/>
                <a:gd name="T19" fmla="*/ 16 h 41"/>
                <a:gd name="T20" fmla="*/ 27 w 35"/>
                <a:gd name="T21" fmla="*/ 14 h 41"/>
                <a:gd name="T22" fmla="*/ 18 w 35"/>
                <a:gd name="T23" fmla="*/ 6 h 41"/>
                <a:gd name="T24" fmla="*/ 7 w 35"/>
                <a:gd name="T25" fmla="*/ 10 h 41"/>
                <a:gd name="T26" fmla="*/ 2 w 35"/>
                <a:gd name="T27" fmla="*/ 6 h 41"/>
                <a:gd name="T28" fmla="*/ 18 w 35"/>
                <a:gd name="T29" fmla="*/ 0 h 41"/>
                <a:gd name="T30" fmla="*/ 34 w 35"/>
                <a:gd name="T31" fmla="*/ 13 h 41"/>
                <a:gd name="T32" fmla="*/ 16 w 35"/>
                <a:gd name="T33" fmla="*/ 35 h 41"/>
                <a:gd name="T34" fmla="*/ 27 w 35"/>
                <a:gd name="T35" fmla="*/ 23 h 41"/>
                <a:gd name="T36" fmla="*/ 27 w 35"/>
                <a:gd name="T37" fmla="*/ 21 h 41"/>
                <a:gd name="T38" fmla="*/ 23 w 35"/>
                <a:gd name="T39" fmla="*/ 21 h 41"/>
                <a:gd name="T40" fmla="*/ 8 w 35"/>
                <a:gd name="T41" fmla="*/ 29 h 41"/>
                <a:gd name="T42" fmla="*/ 16 w 35"/>
                <a:gd name="T4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41">
                  <a:moveTo>
                    <a:pt x="34" y="13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4" y="38"/>
                    <a:pt x="35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8"/>
                    <a:pt x="28" y="37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4" y="39"/>
                    <a:pt x="20" y="41"/>
                    <a:pt x="14" y="41"/>
                  </a:cubicBezTo>
                  <a:cubicBezTo>
                    <a:pt x="6" y="41"/>
                    <a:pt x="0" y="37"/>
                    <a:pt x="0" y="29"/>
                  </a:cubicBezTo>
                  <a:cubicBezTo>
                    <a:pt x="0" y="22"/>
                    <a:pt x="7" y="16"/>
                    <a:pt x="22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9"/>
                    <a:pt x="24" y="6"/>
                    <a:pt x="18" y="6"/>
                  </a:cubicBezTo>
                  <a:cubicBezTo>
                    <a:pt x="14" y="6"/>
                    <a:pt x="11" y="7"/>
                    <a:pt x="7" y="1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7" y="2"/>
                    <a:pt x="12" y="0"/>
                    <a:pt x="18" y="0"/>
                  </a:cubicBezTo>
                  <a:cubicBezTo>
                    <a:pt x="30" y="0"/>
                    <a:pt x="34" y="7"/>
                    <a:pt x="34" y="13"/>
                  </a:cubicBezTo>
                  <a:close/>
                  <a:moveTo>
                    <a:pt x="16" y="35"/>
                  </a:moveTo>
                  <a:cubicBezTo>
                    <a:pt x="23" y="35"/>
                    <a:pt x="27" y="31"/>
                    <a:pt x="27" y="23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11" y="21"/>
                    <a:pt x="8" y="25"/>
                    <a:pt x="8" y="29"/>
                  </a:cubicBezTo>
                  <a:cubicBezTo>
                    <a:pt x="8" y="33"/>
                    <a:pt x="11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6"/>
            <p:cNvSpPr>
              <a:spLocks/>
            </p:cNvSpPr>
            <p:nvPr userDrawn="1"/>
          </p:nvSpPr>
          <p:spPr bwMode="auto">
            <a:xfrm>
              <a:off x="1911350" y="809625"/>
              <a:ext cx="80962" cy="127000"/>
            </a:xfrm>
            <a:custGeom>
              <a:avLst/>
              <a:gdLst>
                <a:gd name="T0" fmla="*/ 39 w 39"/>
                <a:gd name="T1" fmla="*/ 7 h 62"/>
                <a:gd name="T2" fmla="*/ 32 w 39"/>
                <a:gd name="T3" fmla="*/ 13 h 62"/>
                <a:gd name="T4" fmla="*/ 22 w 39"/>
                <a:gd name="T5" fmla="*/ 8 h 62"/>
                <a:gd name="T6" fmla="*/ 10 w 39"/>
                <a:gd name="T7" fmla="*/ 17 h 62"/>
                <a:gd name="T8" fmla="*/ 19 w 39"/>
                <a:gd name="T9" fmla="*/ 26 h 62"/>
                <a:gd name="T10" fmla="*/ 27 w 39"/>
                <a:gd name="T11" fmla="*/ 28 h 62"/>
                <a:gd name="T12" fmla="*/ 39 w 39"/>
                <a:gd name="T13" fmla="*/ 44 h 62"/>
                <a:gd name="T14" fmla="*/ 19 w 39"/>
                <a:gd name="T15" fmla="*/ 62 h 62"/>
                <a:gd name="T16" fmla="*/ 0 w 39"/>
                <a:gd name="T17" fmla="*/ 54 h 62"/>
                <a:gd name="T18" fmla="*/ 7 w 39"/>
                <a:gd name="T19" fmla="*/ 48 h 62"/>
                <a:gd name="T20" fmla="*/ 19 w 39"/>
                <a:gd name="T21" fmla="*/ 54 h 62"/>
                <a:gd name="T22" fmla="*/ 31 w 39"/>
                <a:gd name="T23" fmla="*/ 44 h 62"/>
                <a:gd name="T24" fmla="*/ 21 w 39"/>
                <a:gd name="T25" fmla="*/ 36 h 62"/>
                <a:gd name="T26" fmla="*/ 16 w 39"/>
                <a:gd name="T27" fmla="*/ 34 h 62"/>
                <a:gd name="T28" fmla="*/ 2 w 39"/>
                <a:gd name="T29" fmla="*/ 17 h 62"/>
                <a:gd name="T30" fmla="*/ 22 w 39"/>
                <a:gd name="T31" fmla="*/ 0 h 62"/>
                <a:gd name="T32" fmla="*/ 39 w 39"/>
                <a:gd name="T33" fmla="*/ 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62">
                  <a:moveTo>
                    <a:pt x="39" y="7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0" y="10"/>
                    <a:pt x="26" y="8"/>
                    <a:pt x="22" y="8"/>
                  </a:cubicBezTo>
                  <a:cubicBezTo>
                    <a:pt x="13" y="8"/>
                    <a:pt x="10" y="13"/>
                    <a:pt x="10" y="17"/>
                  </a:cubicBezTo>
                  <a:cubicBezTo>
                    <a:pt x="10" y="22"/>
                    <a:pt x="14" y="24"/>
                    <a:pt x="19" y="26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5" y="31"/>
                    <a:pt x="39" y="35"/>
                    <a:pt x="39" y="44"/>
                  </a:cubicBezTo>
                  <a:cubicBezTo>
                    <a:pt x="39" y="54"/>
                    <a:pt x="31" y="62"/>
                    <a:pt x="19" y="62"/>
                  </a:cubicBezTo>
                  <a:cubicBezTo>
                    <a:pt x="11" y="62"/>
                    <a:pt x="4" y="59"/>
                    <a:pt x="0" y="54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9" y="52"/>
                    <a:pt x="14" y="54"/>
                    <a:pt x="19" y="54"/>
                  </a:cubicBezTo>
                  <a:cubicBezTo>
                    <a:pt x="25" y="54"/>
                    <a:pt x="31" y="51"/>
                    <a:pt x="31" y="44"/>
                  </a:cubicBezTo>
                  <a:cubicBezTo>
                    <a:pt x="31" y="40"/>
                    <a:pt x="28" y="38"/>
                    <a:pt x="21" y="36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8" y="31"/>
                    <a:pt x="2" y="27"/>
                    <a:pt x="2" y="17"/>
                  </a:cubicBezTo>
                  <a:cubicBezTo>
                    <a:pt x="2" y="9"/>
                    <a:pt x="9" y="0"/>
                    <a:pt x="22" y="0"/>
                  </a:cubicBezTo>
                  <a:cubicBezTo>
                    <a:pt x="30" y="0"/>
                    <a:pt x="35" y="3"/>
                    <a:pt x="3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7"/>
            <p:cNvSpPr>
              <a:spLocks noEditPoints="1"/>
            </p:cNvSpPr>
            <p:nvPr userDrawn="1"/>
          </p:nvSpPr>
          <p:spPr bwMode="auto">
            <a:xfrm>
              <a:off x="2012950" y="850900"/>
              <a:ext cx="82550" cy="84138"/>
            </a:xfrm>
            <a:custGeom>
              <a:avLst/>
              <a:gdLst>
                <a:gd name="T0" fmla="*/ 40 w 40"/>
                <a:gd name="T1" fmla="*/ 21 h 41"/>
                <a:gd name="T2" fmla="*/ 40 w 40"/>
                <a:gd name="T3" fmla="*/ 23 h 41"/>
                <a:gd name="T4" fmla="*/ 8 w 40"/>
                <a:gd name="T5" fmla="*/ 23 h 41"/>
                <a:gd name="T6" fmla="*/ 21 w 40"/>
                <a:gd name="T7" fmla="*/ 35 h 41"/>
                <a:gd name="T8" fmla="*/ 32 w 40"/>
                <a:gd name="T9" fmla="*/ 29 h 41"/>
                <a:gd name="T10" fmla="*/ 38 w 40"/>
                <a:gd name="T11" fmla="*/ 33 h 41"/>
                <a:gd name="T12" fmla="*/ 20 w 40"/>
                <a:gd name="T13" fmla="*/ 41 h 41"/>
                <a:gd name="T14" fmla="*/ 0 w 40"/>
                <a:gd name="T15" fmla="*/ 21 h 41"/>
                <a:gd name="T16" fmla="*/ 20 w 40"/>
                <a:gd name="T17" fmla="*/ 0 h 41"/>
                <a:gd name="T18" fmla="*/ 40 w 40"/>
                <a:gd name="T19" fmla="*/ 21 h 41"/>
                <a:gd name="T20" fmla="*/ 32 w 40"/>
                <a:gd name="T21" fmla="*/ 17 h 41"/>
                <a:gd name="T22" fmla="*/ 20 w 40"/>
                <a:gd name="T23" fmla="*/ 6 h 41"/>
                <a:gd name="T24" fmla="*/ 8 w 40"/>
                <a:gd name="T25" fmla="*/ 17 h 41"/>
                <a:gd name="T26" fmla="*/ 32 w 40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40" y="21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5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4" y="39"/>
                    <a:pt x="28" y="41"/>
                    <a:pt x="20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8"/>
                    <a:pt x="40" y="21"/>
                  </a:cubicBezTo>
                  <a:close/>
                  <a:moveTo>
                    <a:pt x="32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8"/>
            <p:cNvSpPr>
              <a:spLocks/>
            </p:cNvSpPr>
            <p:nvPr userDrawn="1"/>
          </p:nvSpPr>
          <p:spPr bwMode="auto">
            <a:xfrm>
              <a:off x="2117725" y="850900"/>
              <a:ext cx="47625" cy="82550"/>
            </a:xfrm>
            <a:custGeom>
              <a:avLst/>
              <a:gdLst>
                <a:gd name="T0" fmla="*/ 23 w 23"/>
                <a:gd name="T1" fmla="*/ 1 h 40"/>
                <a:gd name="T2" fmla="*/ 22 w 23"/>
                <a:gd name="T3" fmla="*/ 9 h 40"/>
                <a:gd name="T4" fmla="*/ 19 w 23"/>
                <a:gd name="T5" fmla="*/ 8 h 40"/>
                <a:gd name="T6" fmla="*/ 7 w 23"/>
                <a:gd name="T7" fmla="*/ 20 h 40"/>
                <a:gd name="T8" fmla="*/ 7 w 23"/>
                <a:gd name="T9" fmla="*/ 40 h 40"/>
                <a:gd name="T10" fmla="*/ 0 w 23"/>
                <a:gd name="T11" fmla="*/ 40 h 40"/>
                <a:gd name="T12" fmla="*/ 0 w 23"/>
                <a:gd name="T13" fmla="*/ 1 h 40"/>
                <a:gd name="T14" fmla="*/ 7 w 23"/>
                <a:gd name="T15" fmla="*/ 1 h 40"/>
                <a:gd name="T16" fmla="*/ 7 w 23"/>
                <a:gd name="T17" fmla="*/ 7 h 40"/>
                <a:gd name="T18" fmla="*/ 8 w 23"/>
                <a:gd name="T19" fmla="*/ 7 h 40"/>
                <a:gd name="T20" fmla="*/ 19 w 23"/>
                <a:gd name="T21" fmla="*/ 0 h 40"/>
                <a:gd name="T22" fmla="*/ 23 w 23"/>
                <a:gd name="T2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23" y="1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1" y="8"/>
                    <a:pt x="7" y="12"/>
                    <a:pt x="7" y="2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3"/>
                    <a:pt x="14" y="0"/>
                    <a:pt x="19" y="0"/>
                  </a:cubicBezTo>
                  <a:cubicBezTo>
                    <a:pt x="21" y="0"/>
                    <a:pt x="22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9"/>
            <p:cNvSpPr>
              <a:spLocks/>
            </p:cNvSpPr>
            <p:nvPr userDrawn="1"/>
          </p:nvSpPr>
          <p:spPr bwMode="auto">
            <a:xfrm>
              <a:off x="2176463" y="852488"/>
              <a:ext cx="82550" cy="80963"/>
            </a:xfrm>
            <a:custGeom>
              <a:avLst/>
              <a:gdLst>
                <a:gd name="T0" fmla="*/ 12 w 52"/>
                <a:gd name="T1" fmla="*/ 0 h 51"/>
                <a:gd name="T2" fmla="*/ 27 w 52"/>
                <a:gd name="T3" fmla="*/ 39 h 51"/>
                <a:gd name="T4" fmla="*/ 42 w 52"/>
                <a:gd name="T5" fmla="*/ 0 h 51"/>
                <a:gd name="T6" fmla="*/ 52 w 52"/>
                <a:gd name="T7" fmla="*/ 0 h 51"/>
                <a:gd name="T8" fmla="*/ 31 w 52"/>
                <a:gd name="T9" fmla="*/ 51 h 51"/>
                <a:gd name="T10" fmla="*/ 21 w 52"/>
                <a:gd name="T11" fmla="*/ 51 h 51"/>
                <a:gd name="T12" fmla="*/ 0 w 52"/>
                <a:gd name="T13" fmla="*/ 0 h 51"/>
                <a:gd name="T14" fmla="*/ 12 w 52"/>
                <a:gd name="T1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51">
                  <a:moveTo>
                    <a:pt x="12" y="0"/>
                  </a:moveTo>
                  <a:lnTo>
                    <a:pt x="27" y="39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31" y="51"/>
                  </a:lnTo>
                  <a:lnTo>
                    <a:pt x="21" y="51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20"/>
            <p:cNvSpPr>
              <a:spLocks noEditPoints="1"/>
            </p:cNvSpPr>
            <p:nvPr userDrawn="1"/>
          </p:nvSpPr>
          <p:spPr bwMode="auto">
            <a:xfrm>
              <a:off x="2274888" y="812800"/>
              <a:ext cx="23812" cy="120650"/>
            </a:xfrm>
            <a:custGeom>
              <a:avLst/>
              <a:gdLst>
                <a:gd name="T0" fmla="*/ 11 w 11"/>
                <a:gd name="T1" fmla="*/ 5 h 58"/>
                <a:gd name="T2" fmla="*/ 5 w 11"/>
                <a:gd name="T3" fmla="*/ 10 h 58"/>
                <a:gd name="T4" fmla="*/ 0 w 11"/>
                <a:gd name="T5" fmla="*/ 5 h 58"/>
                <a:gd name="T6" fmla="*/ 5 w 11"/>
                <a:gd name="T7" fmla="*/ 0 h 58"/>
                <a:gd name="T8" fmla="*/ 11 w 11"/>
                <a:gd name="T9" fmla="*/ 5 h 58"/>
                <a:gd name="T10" fmla="*/ 9 w 11"/>
                <a:gd name="T11" fmla="*/ 19 h 58"/>
                <a:gd name="T12" fmla="*/ 9 w 11"/>
                <a:gd name="T13" fmla="*/ 58 h 58"/>
                <a:gd name="T14" fmla="*/ 1 w 11"/>
                <a:gd name="T15" fmla="*/ 58 h 58"/>
                <a:gd name="T16" fmla="*/ 1 w 11"/>
                <a:gd name="T17" fmla="*/ 19 h 58"/>
                <a:gd name="T18" fmla="*/ 9 w 11"/>
                <a:gd name="T19" fmla="*/ 1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58">
                  <a:moveTo>
                    <a:pt x="11" y="5"/>
                  </a:moveTo>
                  <a:cubicBezTo>
                    <a:pt x="11" y="8"/>
                    <a:pt x="8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lose/>
                  <a:moveTo>
                    <a:pt x="9" y="19"/>
                  </a:moveTo>
                  <a:cubicBezTo>
                    <a:pt x="9" y="58"/>
                    <a:pt x="9" y="58"/>
                    <a:pt x="9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19"/>
                    <a:pt x="1" y="19"/>
                    <a:pt x="1" y="19"/>
                  </a:cubicBezTo>
                  <a:lnTo>
                    <a:pt x="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1"/>
            <p:cNvSpPr>
              <a:spLocks/>
            </p:cNvSpPr>
            <p:nvPr userDrawn="1"/>
          </p:nvSpPr>
          <p:spPr bwMode="auto">
            <a:xfrm>
              <a:off x="2319338" y="850900"/>
              <a:ext cx="74612" cy="84138"/>
            </a:xfrm>
            <a:custGeom>
              <a:avLst/>
              <a:gdLst>
                <a:gd name="T0" fmla="*/ 36 w 36"/>
                <a:gd name="T1" fmla="*/ 6 h 41"/>
                <a:gd name="T2" fmla="*/ 30 w 36"/>
                <a:gd name="T3" fmla="*/ 11 h 41"/>
                <a:gd name="T4" fmla="*/ 20 w 36"/>
                <a:gd name="T5" fmla="*/ 7 h 41"/>
                <a:gd name="T6" fmla="*/ 8 w 36"/>
                <a:gd name="T7" fmla="*/ 21 h 41"/>
                <a:gd name="T8" fmla="*/ 21 w 36"/>
                <a:gd name="T9" fmla="*/ 34 h 41"/>
                <a:gd name="T10" fmla="*/ 30 w 36"/>
                <a:gd name="T11" fmla="*/ 30 h 41"/>
                <a:gd name="T12" fmla="*/ 36 w 36"/>
                <a:gd name="T13" fmla="*/ 35 h 41"/>
                <a:gd name="T14" fmla="*/ 21 w 36"/>
                <a:gd name="T15" fmla="*/ 41 h 41"/>
                <a:gd name="T16" fmla="*/ 0 w 36"/>
                <a:gd name="T17" fmla="*/ 21 h 41"/>
                <a:gd name="T18" fmla="*/ 21 w 36"/>
                <a:gd name="T19" fmla="*/ 0 h 41"/>
                <a:gd name="T20" fmla="*/ 36 w 36"/>
                <a:gd name="T21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41">
                  <a:moveTo>
                    <a:pt x="36" y="6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27" y="9"/>
                    <a:pt x="24" y="7"/>
                    <a:pt x="20" y="7"/>
                  </a:cubicBezTo>
                  <a:cubicBezTo>
                    <a:pt x="13" y="7"/>
                    <a:pt x="8" y="13"/>
                    <a:pt x="8" y="21"/>
                  </a:cubicBezTo>
                  <a:cubicBezTo>
                    <a:pt x="8" y="29"/>
                    <a:pt x="13" y="34"/>
                    <a:pt x="21" y="34"/>
                  </a:cubicBezTo>
                  <a:cubicBezTo>
                    <a:pt x="25" y="34"/>
                    <a:pt x="28" y="33"/>
                    <a:pt x="30" y="30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2" y="40"/>
                    <a:pt x="26" y="41"/>
                    <a:pt x="21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26" y="0"/>
                    <a:pt x="32" y="2"/>
                    <a:pt x="3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2"/>
            <p:cNvSpPr>
              <a:spLocks noEditPoints="1"/>
            </p:cNvSpPr>
            <p:nvPr userDrawn="1"/>
          </p:nvSpPr>
          <p:spPr bwMode="auto">
            <a:xfrm>
              <a:off x="2406650" y="850900"/>
              <a:ext cx="79375" cy="84138"/>
            </a:xfrm>
            <a:custGeom>
              <a:avLst/>
              <a:gdLst>
                <a:gd name="T0" fmla="*/ 39 w 39"/>
                <a:gd name="T1" fmla="*/ 21 h 41"/>
                <a:gd name="T2" fmla="*/ 39 w 39"/>
                <a:gd name="T3" fmla="*/ 23 h 41"/>
                <a:gd name="T4" fmla="*/ 8 w 39"/>
                <a:gd name="T5" fmla="*/ 23 h 41"/>
                <a:gd name="T6" fmla="*/ 21 w 39"/>
                <a:gd name="T7" fmla="*/ 35 h 41"/>
                <a:gd name="T8" fmla="*/ 32 w 39"/>
                <a:gd name="T9" fmla="*/ 29 h 41"/>
                <a:gd name="T10" fmla="*/ 38 w 39"/>
                <a:gd name="T11" fmla="*/ 33 h 41"/>
                <a:gd name="T12" fmla="*/ 20 w 39"/>
                <a:gd name="T13" fmla="*/ 41 h 41"/>
                <a:gd name="T14" fmla="*/ 0 w 39"/>
                <a:gd name="T15" fmla="*/ 21 h 41"/>
                <a:gd name="T16" fmla="*/ 20 w 39"/>
                <a:gd name="T17" fmla="*/ 0 h 41"/>
                <a:gd name="T18" fmla="*/ 39 w 39"/>
                <a:gd name="T19" fmla="*/ 21 h 41"/>
                <a:gd name="T20" fmla="*/ 31 w 39"/>
                <a:gd name="T21" fmla="*/ 17 h 41"/>
                <a:gd name="T22" fmla="*/ 20 w 39"/>
                <a:gd name="T23" fmla="*/ 6 h 41"/>
                <a:gd name="T24" fmla="*/ 8 w 39"/>
                <a:gd name="T25" fmla="*/ 17 h 41"/>
                <a:gd name="T26" fmla="*/ 31 w 39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1">
                  <a:moveTo>
                    <a:pt x="39" y="21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4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3" y="39"/>
                    <a:pt x="28" y="41"/>
                    <a:pt x="20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39" y="8"/>
                    <a:pt x="39" y="21"/>
                  </a:cubicBezTo>
                  <a:close/>
                  <a:moveTo>
                    <a:pt x="31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6875" y="2506664"/>
            <a:ext cx="4261622" cy="65048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cap="all" spc="0" baseline="0" smtClean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bg-BG">
                <a:solidFill>
                  <a:schemeClr val="bg1"/>
                </a:solidFill>
              </a:defRPr>
            </a:lvl5pPr>
          </a:lstStyle>
          <a:p>
            <a:pPr marL="0" lvl="0" indent="0">
              <a:buNone/>
            </a:pPr>
            <a:r>
              <a:rPr lang="en-US" dirty="0"/>
              <a:t>OPTIONAL SUB-HEADLINE</a:t>
            </a:r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539141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TITLE</a:t>
            </a:r>
            <a:br>
              <a:rPr lang="en-US" dirty="0"/>
            </a:br>
            <a:r>
              <a:rPr lang="en-US" dirty="0"/>
              <a:t>SLIDE HEADLINE COPY</a:t>
            </a:r>
          </a:p>
        </p:txBody>
      </p:sp>
    </p:spTree>
    <p:extLst>
      <p:ext uri="{BB962C8B-B14F-4D97-AF65-F5344CB8AC3E}">
        <p14:creationId xmlns:p14="http://schemas.microsoft.com/office/powerpoint/2010/main" val="1091562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0" y="0"/>
            <a:ext cx="9144000" cy="4756150"/>
          </a:xfrm>
          <a:prstGeom prst="rect">
            <a:avLst/>
          </a:prstGeom>
        </p:spPr>
      </p:pic>
      <p:sp>
        <p:nvSpPr>
          <p:cNvPr id="3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2391877"/>
            <a:ext cx="4541236" cy="371694"/>
          </a:xfrm>
        </p:spPr>
        <p:txBody>
          <a:bodyPr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 SUB-HEADLINE COPY</a:t>
            </a:r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395112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DIVIDER SLIDE HEADLINE COPY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240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1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4631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800600"/>
          </a:xfrm>
          <a:prstGeom prst="rect">
            <a:avLst/>
          </a:prstGeom>
        </p:spPr>
      </p:pic>
      <p:sp>
        <p:nvSpPr>
          <p:cNvPr id="3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2150577"/>
            <a:ext cx="4541236" cy="371694"/>
          </a:xfrm>
        </p:spPr>
        <p:txBody>
          <a:bodyPr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 SUB-HEADLINE COPY</a:t>
            </a:r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153812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DIVIDER SLIDE HEADLINE COPY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240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5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46314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80677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-1"/>
            <a:ext cx="8549640" cy="4756151"/>
          </a:xfrm>
          <a:prstGeom prst="rect">
            <a:avLst/>
          </a:prstGeom>
          <a:gradFill flip="none" rotWithShape="1">
            <a:gsLst>
              <a:gs pos="43000">
                <a:schemeClr val="bg1">
                  <a:alpha val="0"/>
                </a:schemeClr>
              </a:gs>
              <a:gs pos="83000">
                <a:schemeClr val="bg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2150577"/>
            <a:ext cx="4541236" cy="371694"/>
          </a:xfrm>
        </p:spPr>
        <p:txBody>
          <a:bodyPr/>
          <a:lstStyle>
            <a:lvl1pPr marL="0" indent="0">
              <a:buNone/>
              <a:defRPr sz="16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DIVIDER SUB-HEADLINE COPY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153812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DIVIDER SLIDE HEADLINE COPY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240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2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46314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8006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-1" y="0"/>
            <a:ext cx="8850085" cy="4756150"/>
          </a:xfrm>
          <a:prstGeom prst="rect">
            <a:avLst/>
          </a:prstGeom>
          <a:gradFill flip="none" rotWithShape="1">
            <a:gsLst>
              <a:gs pos="34000">
                <a:schemeClr val="accent4">
                  <a:shade val="67500"/>
                  <a:satMod val="115000"/>
                  <a:alpha val="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2150577"/>
            <a:ext cx="4541236" cy="371694"/>
          </a:xfrm>
        </p:spPr>
        <p:txBody>
          <a:bodyPr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 SUB-HEADLINE COPY</a:t>
            </a:r>
          </a:p>
        </p:txBody>
      </p:sp>
      <p:sp>
        <p:nvSpPr>
          <p:cNvPr id="34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153812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DIVIDER SLIDE HEADLINE COPY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240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2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46314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75615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4756150"/>
          </a:xfrm>
          <a:prstGeom prst="rect">
            <a:avLst/>
          </a:prstGeom>
          <a:gradFill flip="none" rotWithShape="1">
            <a:gsLst>
              <a:gs pos="30000">
                <a:schemeClr val="accent4">
                  <a:shade val="67500"/>
                  <a:satMod val="115000"/>
                  <a:alpha val="0"/>
                </a:schemeClr>
              </a:gs>
              <a:gs pos="72000">
                <a:schemeClr val="accent4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2150577"/>
            <a:ext cx="4541236" cy="371694"/>
          </a:xfrm>
        </p:spPr>
        <p:txBody>
          <a:bodyPr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 SUB-HEADLINE COPY</a:t>
            </a:r>
          </a:p>
        </p:txBody>
      </p:sp>
      <p:sp>
        <p:nvSpPr>
          <p:cNvPr id="34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153812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DIVIDER SLIDE HEADLINE COPY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240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2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46314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Divid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475615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  <a:alpha val="72000"/>
                </a:schemeClr>
              </a:gs>
              <a:gs pos="42000">
                <a:schemeClr val="bg1">
                  <a:lumMod val="85000"/>
                  <a:alpha val="90000"/>
                </a:schemeClr>
              </a:gs>
            </a:gsLst>
            <a:lin ang="13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2339976"/>
            <a:ext cx="4541236" cy="371694"/>
          </a:xfrm>
        </p:spPr>
        <p:txBody>
          <a:bodyPr/>
          <a:lstStyle>
            <a:lvl1pPr marL="0" indent="0">
              <a:buNone/>
              <a:defRPr sz="16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DIVIDER SUB-HEADLINE COPY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163108"/>
            <a:ext cx="5317069" cy="1063625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pPr lvl="0"/>
            <a:r>
              <a:rPr lang="en-US" dirty="0"/>
              <a:t>CLICK TO EDIT DIVIDER SLIDE HEADLINE COPY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240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5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320033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488731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4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2346507"/>
            <a:ext cx="4541236" cy="371694"/>
          </a:xfrm>
        </p:spPr>
        <p:txBody>
          <a:bodyPr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 SUB-HEADLINE COPY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163108"/>
            <a:ext cx="5317069" cy="1063625"/>
          </a:xfrm>
        </p:spPr>
        <p:txBody>
          <a:bodyPr>
            <a:noAutofit/>
          </a:bodyPr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 SLIDE HEADLINE COPY</a:t>
            </a:r>
          </a:p>
        </p:txBody>
      </p:sp>
      <p:sp>
        <p:nvSpPr>
          <p:cNvPr id="12" name="Rectangle 11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240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5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03595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4887310"/>
          </a:xfrm>
          <a:prstGeom prst="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2339976"/>
            <a:ext cx="4541236" cy="371694"/>
          </a:xfrm>
        </p:spPr>
        <p:txBody>
          <a:bodyPr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 SUB-HEADLINE COPY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163108"/>
            <a:ext cx="5317069" cy="1063625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 SLIDE HEADLINE COPY</a:t>
            </a:r>
          </a:p>
        </p:txBody>
      </p:sp>
      <p:sp>
        <p:nvSpPr>
          <p:cNvPr id="12" name="Rectangle 11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240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5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237140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4887310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2339976"/>
            <a:ext cx="4541236" cy="371694"/>
          </a:xfrm>
        </p:spPr>
        <p:txBody>
          <a:bodyPr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 SUB-HEADLINE COPY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163108"/>
            <a:ext cx="5317069" cy="1063625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 SLIDE HEADLINE COPY</a:t>
            </a:r>
          </a:p>
        </p:txBody>
      </p:sp>
      <p:sp>
        <p:nvSpPr>
          <p:cNvPr id="12" name="Rectangle 11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240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5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412583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Divide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 descr="corner2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2339976"/>
            <a:ext cx="4541236" cy="371694"/>
          </a:xfrm>
        </p:spPr>
        <p:txBody>
          <a:bodyPr/>
          <a:lstStyle>
            <a:lvl1pPr marL="0" indent="0">
              <a:buNone/>
              <a:defRPr sz="16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DIVIDER SUB-HEADLINE COPY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163108"/>
            <a:ext cx="5317069" cy="1063625"/>
          </a:xfrm>
        </p:spPr>
        <p:txBody>
          <a:bodyPr>
            <a:no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DIVIDER SLIDE HEADLINE COPY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240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5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93000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G -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5288" y="4960856"/>
            <a:ext cx="3240000" cy="923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3515497"/>
            <a:ext cx="2844800" cy="95807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  <a:p>
            <a:pPr lvl="0"/>
            <a:r>
              <a:rPr lang="en-US" dirty="0"/>
              <a:t>Presenter Title</a:t>
            </a:r>
          </a:p>
          <a:p>
            <a:pPr lvl="0"/>
            <a:r>
              <a:rPr lang="en-US" dirty="0"/>
              <a:t>Dat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396875" y="346075"/>
            <a:ext cx="2363787" cy="590550"/>
            <a:chOff x="396875" y="346075"/>
            <a:chExt cx="2363787" cy="590550"/>
          </a:xfrm>
          <a:solidFill>
            <a:schemeClr val="bg1"/>
          </a:solidFill>
        </p:grpSpPr>
        <p:sp>
          <p:nvSpPr>
            <p:cNvPr id="9" name="Freeform 5"/>
            <p:cNvSpPr>
              <a:spLocks noEditPoints="1"/>
            </p:cNvSpPr>
            <p:nvPr userDrawn="1"/>
          </p:nvSpPr>
          <p:spPr bwMode="auto">
            <a:xfrm>
              <a:off x="396875" y="346075"/>
              <a:ext cx="2363787" cy="360363"/>
            </a:xfrm>
            <a:custGeom>
              <a:avLst/>
              <a:gdLst>
                <a:gd name="T0" fmla="*/ 1015 w 1141"/>
                <a:gd name="T1" fmla="*/ 164 h 174"/>
                <a:gd name="T2" fmla="*/ 1008 w 1141"/>
                <a:gd name="T3" fmla="*/ 148 h 174"/>
                <a:gd name="T4" fmla="*/ 962 w 1141"/>
                <a:gd name="T5" fmla="*/ 149 h 174"/>
                <a:gd name="T6" fmla="*/ 1019 w 1141"/>
                <a:gd name="T7" fmla="*/ 118 h 174"/>
                <a:gd name="T8" fmla="*/ 828 w 1141"/>
                <a:gd name="T9" fmla="*/ 96 h 174"/>
                <a:gd name="T10" fmla="*/ 737 w 1141"/>
                <a:gd name="T11" fmla="*/ 76 h 174"/>
                <a:gd name="T12" fmla="*/ 743 w 1141"/>
                <a:gd name="T13" fmla="*/ 93 h 174"/>
                <a:gd name="T14" fmla="*/ 794 w 1141"/>
                <a:gd name="T15" fmla="*/ 100 h 174"/>
                <a:gd name="T16" fmla="*/ 779 w 1141"/>
                <a:gd name="T17" fmla="*/ 174 h 174"/>
                <a:gd name="T18" fmla="*/ 198 w 1141"/>
                <a:gd name="T19" fmla="*/ 131 h 174"/>
                <a:gd name="T20" fmla="*/ 171 w 1141"/>
                <a:gd name="T21" fmla="*/ 148 h 174"/>
                <a:gd name="T22" fmla="*/ 165 w 1141"/>
                <a:gd name="T23" fmla="*/ 163 h 174"/>
                <a:gd name="T24" fmla="*/ 246 w 1141"/>
                <a:gd name="T25" fmla="*/ 139 h 174"/>
                <a:gd name="T26" fmla="*/ 214 w 1141"/>
                <a:gd name="T27" fmla="*/ 87 h 174"/>
                <a:gd name="T28" fmla="*/ 243 w 1141"/>
                <a:gd name="T29" fmla="*/ 75 h 174"/>
                <a:gd name="T30" fmla="*/ 165 w 1141"/>
                <a:gd name="T31" fmla="*/ 98 h 174"/>
                <a:gd name="T32" fmla="*/ 41 w 1141"/>
                <a:gd name="T33" fmla="*/ 72 h 174"/>
                <a:gd name="T34" fmla="*/ 66 w 1141"/>
                <a:gd name="T35" fmla="*/ 0 h 174"/>
                <a:gd name="T36" fmla="*/ 794 w 1141"/>
                <a:gd name="T37" fmla="*/ 152 h 174"/>
                <a:gd name="T38" fmla="*/ 794 w 1141"/>
                <a:gd name="T39" fmla="*/ 123 h 174"/>
                <a:gd name="T40" fmla="*/ 954 w 1141"/>
                <a:gd name="T41" fmla="*/ 98 h 174"/>
                <a:gd name="T42" fmla="*/ 987 w 1141"/>
                <a:gd name="T43" fmla="*/ 114 h 174"/>
                <a:gd name="T44" fmla="*/ 653 w 1141"/>
                <a:gd name="T45" fmla="*/ 151 h 174"/>
                <a:gd name="T46" fmla="*/ 619 w 1141"/>
                <a:gd name="T47" fmla="*/ 71 h 174"/>
                <a:gd name="T48" fmla="*/ 590 w 1141"/>
                <a:gd name="T49" fmla="*/ 71 h 174"/>
                <a:gd name="T50" fmla="*/ 502 w 1141"/>
                <a:gd name="T51" fmla="*/ 33 h 174"/>
                <a:gd name="T52" fmla="*/ 471 w 1141"/>
                <a:gd name="T53" fmla="*/ 68 h 174"/>
                <a:gd name="T54" fmla="*/ 437 w 1141"/>
                <a:gd name="T55" fmla="*/ 46 h 174"/>
                <a:gd name="T56" fmla="*/ 452 w 1141"/>
                <a:gd name="T57" fmla="*/ 45 h 174"/>
                <a:gd name="T58" fmla="*/ 426 w 1141"/>
                <a:gd name="T59" fmla="*/ 23 h 174"/>
                <a:gd name="T60" fmla="*/ 373 w 1141"/>
                <a:gd name="T61" fmla="*/ 71 h 174"/>
                <a:gd name="T62" fmla="*/ 391 w 1141"/>
                <a:gd name="T63" fmla="*/ 169 h 174"/>
                <a:gd name="T64" fmla="*/ 425 w 1141"/>
                <a:gd name="T65" fmla="*/ 91 h 174"/>
                <a:gd name="T66" fmla="*/ 533 w 1141"/>
                <a:gd name="T67" fmla="*/ 169 h 174"/>
                <a:gd name="T68" fmla="*/ 531 w 1141"/>
                <a:gd name="T69" fmla="*/ 148 h 174"/>
                <a:gd name="T70" fmla="*/ 505 w 1141"/>
                <a:gd name="T71" fmla="*/ 137 h 174"/>
                <a:gd name="T72" fmla="*/ 573 w 1141"/>
                <a:gd name="T73" fmla="*/ 170 h 174"/>
                <a:gd name="T74" fmla="*/ 715 w 1141"/>
                <a:gd name="T75" fmla="*/ 144 h 174"/>
                <a:gd name="T76" fmla="*/ 682 w 1141"/>
                <a:gd name="T77" fmla="*/ 71 h 174"/>
                <a:gd name="T78" fmla="*/ 908 w 1141"/>
                <a:gd name="T79" fmla="*/ 66 h 174"/>
                <a:gd name="T80" fmla="*/ 852 w 1141"/>
                <a:gd name="T81" fmla="*/ 169 h 174"/>
                <a:gd name="T82" fmla="*/ 886 w 1141"/>
                <a:gd name="T83" fmla="*/ 92 h 174"/>
                <a:gd name="T84" fmla="*/ 313 w 1141"/>
                <a:gd name="T85" fmla="*/ 174 h 174"/>
                <a:gd name="T86" fmla="*/ 296 w 1141"/>
                <a:gd name="T87" fmla="*/ 120 h 174"/>
                <a:gd name="T88" fmla="*/ 296 w 1141"/>
                <a:gd name="T89" fmla="*/ 120 h 174"/>
                <a:gd name="T90" fmla="*/ 1064 w 1141"/>
                <a:gd name="T91" fmla="*/ 92 h 174"/>
                <a:gd name="T92" fmla="*/ 1125 w 1141"/>
                <a:gd name="T93" fmla="*/ 106 h 174"/>
                <a:gd name="T94" fmla="*/ 1138 w 1141"/>
                <a:gd name="T95" fmla="*/ 76 h 174"/>
                <a:gd name="T96" fmla="*/ 1141 w 1141"/>
                <a:gd name="T97" fmla="*/ 71 h 174"/>
                <a:gd name="T98" fmla="*/ 1125 w 1141"/>
                <a:gd name="T99" fmla="*/ 113 h 174"/>
                <a:gd name="T100" fmla="*/ 1141 w 1141"/>
                <a:gd name="T101" fmla="*/ 88 h 174"/>
                <a:gd name="T102" fmla="*/ 1123 w 1141"/>
                <a:gd name="T103" fmla="*/ 94 h 174"/>
                <a:gd name="T104" fmla="*/ 1062 w 1141"/>
                <a:gd name="T105" fmla="*/ 68 h 174"/>
                <a:gd name="T106" fmla="*/ 1048 w 1141"/>
                <a:gd name="T107" fmla="*/ 112 h 174"/>
                <a:gd name="T108" fmla="*/ 1080 w 1141"/>
                <a:gd name="T109" fmla="*/ 99 h 174"/>
                <a:gd name="T110" fmla="*/ 1094 w 1141"/>
                <a:gd name="T111" fmla="*/ 112 h 174"/>
                <a:gd name="T112" fmla="*/ 70 w 1141"/>
                <a:gd name="T113" fmla="*/ 68 h 174"/>
                <a:gd name="T114" fmla="*/ 21 w 1141"/>
                <a:gd name="T115" fmla="*/ 172 h 174"/>
                <a:gd name="T116" fmla="*/ 70 w 1141"/>
                <a:gd name="T117" fmla="*/ 6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1" h="174">
                  <a:moveTo>
                    <a:pt x="919" y="120"/>
                  </a:moveTo>
                  <a:cubicBezTo>
                    <a:pt x="919" y="160"/>
                    <a:pt x="937" y="174"/>
                    <a:pt x="975" y="174"/>
                  </a:cubicBezTo>
                  <a:cubicBezTo>
                    <a:pt x="992" y="174"/>
                    <a:pt x="1006" y="169"/>
                    <a:pt x="1012" y="167"/>
                  </a:cubicBezTo>
                  <a:cubicBezTo>
                    <a:pt x="1014" y="167"/>
                    <a:pt x="1015" y="165"/>
                    <a:pt x="1015" y="164"/>
                  </a:cubicBezTo>
                  <a:cubicBezTo>
                    <a:pt x="1015" y="163"/>
                    <a:pt x="1015" y="163"/>
                    <a:pt x="1015" y="162"/>
                  </a:cubicBezTo>
                  <a:cubicBezTo>
                    <a:pt x="1012" y="151"/>
                    <a:pt x="1012" y="151"/>
                    <a:pt x="1012" y="151"/>
                  </a:cubicBezTo>
                  <a:cubicBezTo>
                    <a:pt x="1012" y="151"/>
                    <a:pt x="1012" y="151"/>
                    <a:pt x="1012" y="151"/>
                  </a:cubicBezTo>
                  <a:cubicBezTo>
                    <a:pt x="1011" y="148"/>
                    <a:pt x="1010" y="148"/>
                    <a:pt x="1008" y="148"/>
                  </a:cubicBezTo>
                  <a:cubicBezTo>
                    <a:pt x="1008" y="148"/>
                    <a:pt x="1007" y="148"/>
                    <a:pt x="1006" y="148"/>
                  </a:cubicBezTo>
                  <a:cubicBezTo>
                    <a:pt x="1006" y="148"/>
                    <a:pt x="1006" y="148"/>
                    <a:pt x="1006" y="148"/>
                  </a:cubicBezTo>
                  <a:cubicBezTo>
                    <a:pt x="1001" y="150"/>
                    <a:pt x="992" y="152"/>
                    <a:pt x="981" y="152"/>
                  </a:cubicBezTo>
                  <a:cubicBezTo>
                    <a:pt x="973" y="152"/>
                    <a:pt x="966" y="151"/>
                    <a:pt x="962" y="149"/>
                  </a:cubicBezTo>
                  <a:cubicBezTo>
                    <a:pt x="957" y="146"/>
                    <a:pt x="954" y="141"/>
                    <a:pt x="954" y="133"/>
                  </a:cubicBezTo>
                  <a:cubicBezTo>
                    <a:pt x="1015" y="133"/>
                    <a:pt x="1015" y="133"/>
                    <a:pt x="1015" y="133"/>
                  </a:cubicBezTo>
                  <a:cubicBezTo>
                    <a:pt x="1019" y="133"/>
                    <a:pt x="1019" y="130"/>
                    <a:pt x="1019" y="127"/>
                  </a:cubicBezTo>
                  <a:cubicBezTo>
                    <a:pt x="1019" y="118"/>
                    <a:pt x="1019" y="118"/>
                    <a:pt x="1019" y="118"/>
                  </a:cubicBezTo>
                  <a:cubicBezTo>
                    <a:pt x="1019" y="100"/>
                    <a:pt x="1016" y="86"/>
                    <a:pt x="1009" y="78"/>
                  </a:cubicBezTo>
                  <a:cubicBezTo>
                    <a:pt x="1001" y="70"/>
                    <a:pt x="988" y="66"/>
                    <a:pt x="970" y="66"/>
                  </a:cubicBezTo>
                  <a:cubicBezTo>
                    <a:pt x="932" y="66"/>
                    <a:pt x="919" y="80"/>
                    <a:pt x="919" y="120"/>
                  </a:cubicBezTo>
                  <a:moveTo>
                    <a:pt x="828" y="96"/>
                  </a:moveTo>
                  <a:cubicBezTo>
                    <a:pt x="828" y="85"/>
                    <a:pt x="824" y="77"/>
                    <a:pt x="815" y="71"/>
                  </a:cubicBezTo>
                  <a:cubicBezTo>
                    <a:pt x="808" y="67"/>
                    <a:pt x="798" y="66"/>
                    <a:pt x="784" y="66"/>
                  </a:cubicBezTo>
                  <a:cubicBezTo>
                    <a:pt x="763" y="66"/>
                    <a:pt x="743" y="71"/>
                    <a:pt x="740" y="73"/>
                  </a:cubicBezTo>
                  <a:cubicBezTo>
                    <a:pt x="738" y="73"/>
                    <a:pt x="737" y="74"/>
                    <a:pt x="737" y="76"/>
                  </a:cubicBezTo>
                  <a:cubicBezTo>
                    <a:pt x="737" y="76"/>
                    <a:pt x="737" y="76"/>
                    <a:pt x="737" y="76"/>
                  </a:cubicBezTo>
                  <a:cubicBezTo>
                    <a:pt x="737" y="76"/>
                    <a:pt x="737" y="77"/>
                    <a:pt x="737" y="77"/>
                  </a:cubicBezTo>
                  <a:cubicBezTo>
                    <a:pt x="741" y="92"/>
                    <a:pt x="741" y="92"/>
                    <a:pt x="741" y="92"/>
                  </a:cubicBezTo>
                  <a:cubicBezTo>
                    <a:pt x="741" y="93"/>
                    <a:pt x="742" y="93"/>
                    <a:pt x="743" y="93"/>
                  </a:cubicBezTo>
                  <a:cubicBezTo>
                    <a:pt x="743" y="93"/>
                    <a:pt x="743" y="93"/>
                    <a:pt x="744" y="93"/>
                  </a:cubicBezTo>
                  <a:cubicBezTo>
                    <a:pt x="748" y="92"/>
                    <a:pt x="764" y="88"/>
                    <a:pt x="776" y="88"/>
                  </a:cubicBezTo>
                  <a:cubicBezTo>
                    <a:pt x="783" y="88"/>
                    <a:pt x="787" y="88"/>
                    <a:pt x="790" y="89"/>
                  </a:cubicBezTo>
                  <a:cubicBezTo>
                    <a:pt x="793" y="91"/>
                    <a:pt x="794" y="94"/>
                    <a:pt x="794" y="100"/>
                  </a:cubicBezTo>
                  <a:cubicBezTo>
                    <a:pt x="794" y="104"/>
                    <a:pt x="794" y="104"/>
                    <a:pt x="794" y="104"/>
                  </a:cubicBezTo>
                  <a:cubicBezTo>
                    <a:pt x="760" y="109"/>
                    <a:pt x="760" y="109"/>
                    <a:pt x="760" y="109"/>
                  </a:cubicBezTo>
                  <a:cubicBezTo>
                    <a:pt x="747" y="111"/>
                    <a:pt x="731" y="115"/>
                    <a:pt x="731" y="140"/>
                  </a:cubicBezTo>
                  <a:cubicBezTo>
                    <a:pt x="731" y="170"/>
                    <a:pt x="755" y="174"/>
                    <a:pt x="779" y="174"/>
                  </a:cubicBezTo>
                  <a:cubicBezTo>
                    <a:pt x="791" y="174"/>
                    <a:pt x="800" y="173"/>
                    <a:pt x="808" y="171"/>
                  </a:cubicBezTo>
                  <a:cubicBezTo>
                    <a:pt x="821" y="168"/>
                    <a:pt x="828" y="166"/>
                    <a:pt x="828" y="151"/>
                  </a:cubicBezTo>
                  <a:lnTo>
                    <a:pt x="828" y="96"/>
                  </a:lnTo>
                  <a:close/>
                  <a:moveTo>
                    <a:pt x="198" y="131"/>
                  </a:moveTo>
                  <a:cubicBezTo>
                    <a:pt x="208" y="133"/>
                    <a:pt x="212" y="134"/>
                    <a:pt x="212" y="142"/>
                  </a:cubicBezTo>
                  <a:cubicBezTo>
                    <a:pt x="212" y="150"/>
                    <a:pt x="205" y="152"/>
                    <a:pt x="198" y="152"/>
                  </a:cubicBezTo>
                  <a:cubicBezTo>
                    <a:pt x="188" y="152"/>
                    <a:pt x="176" y="149"/>
                    <a:pt x="171" y="148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70" y="148"/>
                    <a:pt x="169" y="148"/>
                    <a:pt x="169" y="148"/>
                  </a:cubicBezTo>
                  <a:cubicBezTo>
                    <a:pt x="168" y="148"/>
                    <a:pt x="167" y="148"/>
                    <a:pt x="167" y="150"/>
                  </a:cubicBezTo>
                  <a:cubicBezTo>
                    <a:pt x="165" y="163"/>
                    <a:pt x="165" y="163"/>
                    <a:pt x="165" y="163"/>
                  </a:cubicBezTo>
                  <a:cubicBezTo>
                    <a:pt x="164" y="164"/>
                    <a:pt x="164" y="165"/>
                    <a:pt x="164" y="165"/>
                  </a:cubicBezTo>
                  <a:cubicBezTo>
                    <a:pt x="164" y="167"/>
                    <a:pt x="165" y="167"/>
                    <a:pt x="166" y="168"/>
                  </a:cubicBezTo>
                  <a:cubicBezTo>
                    <a:pt x="170" y="170"/>
                    <a:pt x="186" y="174"/>
                    <a:pt x="203" y="174"/>
                  </a:cubicBezTo>
                  <a:cubicBezTo>
                    <a:pt x="227" y="174"/>
                    <a:pt x="246" y="165"/>
                    <a:pt x="246" y="139"/>
                  </a:cubicBezTo>
                  <a:cubicBezTo>
                    <a:pt x="246" y="115"/>
                    <a:pt x="232" y="110"/>
                    <a:pt x="218" y="108"/>
                  </a:cubicBezTo>
                  <a:cubicBezTo>
                    <a:pt x="215" y="107"/>
                    <a:pt x="215" y="107"/>
                    <a:pt x="215" y="107"/>
                  </a:cubicBezTo>
                  <a:cubicBezTo>
                    <a:pt x="207" y="106"/>
                    <a:pt x="200" y="104"/>
                    <a:pt x="200" y="96"/>
                  </a:cubicBezTo>
                  <a:cubicBezTo>
                    <a:pt x="200" y="88"/>
                    <a:pt x="208" y="87"/>
                    <a:pt x="214" y="87"/>
                  </a:cubicBezTo>
                  <a:cubicBezTo>
                    <a:pt x="222" y="87"/>
                    <a:pt x="230" y="88"/>
                    <a:pt x="234" y="89"/>
                  </a:cubicBezTo>
                  <a:cubicBezTo>
                    <a:pt x="236" y="90"/>
                    <a:pt x="237" y="90"/>
                    <a:pt x="238" y="90"/>
                  </a:cubicBezTo>
                  <a:cubicBezTo>
                    <a:pt x="239" y="90"/>
                    <a:pt x="240" y="89"/>
                    <a:pt x="240" y="88"/>
                  </a:cubicBezTo>
                  <a:cubicBezTo>
                    <a:pt x="241" y="83"/>
                    <a:pt x="242" y="79"/>
                    <a:pt x="243" y="75"/>
                  </a:cubicBezTo>
                  <a:cubicBezTo>
                    <a:pt x="243" y="75"/>
                    <a:pt x="243" y="74"/>
                    <a:pt x="243" y="73"/>
                  </a:cubicBezTo>
                  <a:cubicBezTo>
                    <a:pt x="243" y="71"/>
                    <a:pt x="242" y="70"/>
                    <a:pt x="239" y="69"/>
                  </a:cubicBezTo>
                  <a:cubicBezTo>
                    <a:pt x="234" y="68"/>
                    <a:pt x="222" y="66"/>
                    <a:pt x="209" y="66"/>
                  </a:cubicBezTo>
                  <a:cubicBezTo>
                    <a:pt x="191" y="66"/>
                    <a:pt x="165" y="68"/>
                    <a:pt x="165" y="98"/>
                  </a:cubicBezTo>
                  <a:cubicBezTo>
                    <a:pt x="165" y="124"/>
                    <a:pt x="183" y="128"/>
                    <a:pt x="196" y="131"/>
                  </a:cubicBezTo>
                  <a:lnTo>
                    <a:pt x="198" y="131"/>
                  </a:lnTo>
                  <a:close/>
                  <a:moveTo>
                    <a:pt x="41" y="106"/>
                  </a:moveTo>
                  <a:cubicBezTo>
                    <a:pt x="41" y="72"/>
                    <a:pt x="41" y="72"/>
                    <a:pt x="41" y="72"/>
                  </a:cubicBezTo>
                  <a:cubicBezTo>
                    <a:pt x="41" y="50"/>
                    <a:pt x="50" y="40"/>
                    <a:pt x="70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6" y="0"/>
                    <a:pt x="0" y="29"/>
                    <a:pt x="0" y="69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41" y="106"/>
                  </a:lnTo>
                  <a:close/>
                  <a:moveTo>
                    <a:pt x="794" y="152"/>
                  </a:moveTo>
                  <a:cubicBezTo>
                    <a:pt x="793" y="152"/>
                    <a:pt x="787" y="153"/>
                    <a:pt x="780" y="153"/>
                  </a:cubicBezTo>
                  <a:cubicBezTo>
                    <a:pt x="773" y="153"/>
                    <a:pt x="763" y="152"/>
                    <a:pt x="763" y="139"/>
                  </a:cubicBezTo>
                  <a:cubicBezTo>
                    <a:pt x="763" y="128"/>
                    <a:pt x="769" y="127"/>
                    <a:pt x="776" y="126"/>
                  </a:cubicBezTo>
                  <a:cubicBezTo>
                    <a:pt x="794" y="123"/>
                    <a:pt x="794" y="123"/>
                    <a:pt x="794" y="123"/>
                  </a:cubicBezTo>
                  <a:lnTo>
                    <a:pt x="794" y="152"/>
                  </a:lnTo>
                  <a:close/>
                  <a:moveTo>
                    <a:pt x="953" y="114"/>
                  </a:moveTo>
                  <a:cubicBezTo>
                    <a:pt x="953" y="112"/>
                    <a:pt x="953" y="112"/>
                    <a:pt x="953" y="112"/>
                  </a:cubicBezTo>
                  <a:cubicBezTo>
                    <a:pt x="953" y="109"/>
                    <a:pt x="953" y="103"/>
                    <a:pt x="954" y="98"/>
                  </a:cubicBezTo>
                  <a:cubicBezTo>
                    <a:pt x="956" y="92"/>
                    <a:pt x="959" y="87"/>
                    <a:pt x="970" y="87"/>
                  </a:cubicBezTo>
                  <a:cubicBezTo>
                    <a:pt x="979" y="87"/>
                    <a:pt x="984" y="91"/>
                    <a:pt x="986" y="97"/>
                  </a:cubicBezTo>
                  <a:cubicBezTo>
                    <a:pt x="987" y="101"/>
                    <a:pt x="987" y="107"/>
                    <a:pt x="987" y="111"/>
                  </a:cubicBezTo>
                  <a:cubicBezTo>
                    <a:pt x="987" y="114"/>
                    <a:pt x="987" y="114"/>
                    <a:pt x="987" y="114"/>
                  </a:cubicBezTo>
                  <a:lnTo>
                    <a:pt x="953" y="114"/>
                  </a:lnTo>
                  <a:close/>
                  <a:moveTo>
                    <a:pt x="682" y="139"/>
                  </a:moveTo>
                  <a:cubicBezTo>
                    <a:pt x="682" y="150"/>
                    <a:pt x="675" y="153"/>
                    <a:pt x="667" y="153"/>
                  </a:cubicBezTo>
                  <a:cubicBezTo>
                    <a:pt x="660" y="153"/>
                    <a:pt x="653" y="151"/>
                    <a:pt x="653" y="151"/>
                  </a:cubicBezTo>
                  <a:cubicBezTo>
                    <a:pt x="653" y="71"/>
                    <a:pt x="653" y="71"/>
                    <a:pt x="653" y="71"/>
                  </a:cubicBezTo>
                  <a:cubicBezTo>
                    <a:pt x="653" y="69"/>
                    <a:pt x="652" y="68"/>
                    <a:pt x="650" y="68"/>
                  </a:cubicBezTo>
                  <a:cubicBezTo>
                    <a:pt x="621" y="68"/>
                    <a:pt x="621" y="68"/>
                    <a:pt x="621" y="68"/>
                  </a:cubicBezTo>
                  <a:cubicBezTo>
                    <a:pt x="620" y="68"/>
                    <a:pt x="619" y="69"/>
                    <a:pt x="619" y="71"/>
                  </a:cubicBezTo>
                  <a:cubicBezTo>
                    <a:pt x="619" y="139"/>
                    <a:pt x="619" y="139"/>
                    <a:pt x="619" y="139"/>
                  </a:cubicBezTo>
                  <a:cubicBezTo>
                    <a:pt x="619" y="150"/>
                    <a:pt x="615" y="153"/>
                    <a:pt x="607" y="153"/>
                  </a:cubicBezTo>
                  <a:cubicBezTo>
                    <a:pt x="600" y="153"/>
                    <a:pt x="590" y="151"/>
                    <a:pt x="590" y="151"/>
                  </a:cubicBezTo>
                  <a:cubicBezTo>
                    <a:pt x="590" y="71"/>
                    <a:pt x="590" y="71"/>
                    <a:pt x="590" y="71"/>
                  </a:cubicBezTo>
                  <a:cubicBezTo>
                    <a:pt x="590" y="69"/>
                    <a:pt x="589" y="68"/>
                    <a:pt x="587" y="68"/>
                  </a:cubicBezTo>
                  <a:cubicBezTo>
                    <a:pt x="505" y="68"/>
                    <a:pt x="505" y="68"/>
                    <a:pt x="505" y="68"/>
                  </a:cubicBezTo>
                  <a:cubicBezTo>
                    <a:pt x="505" y="36"/>
                    <a:pt x="505" y="36"/>
                    <a:pt x="505" y="36"/>
                  </a:cubicBezTo>
                  <a:cubicBezTo>
                    <a:pt x="505" y="34"/>
                    <a:pt x="504" y="33"/>
                    <a:pt x="502" y="33"/>
                  </a:cubicBezTo>
                  <a:cubicBezTo>
                    <a:pt x="501" y="33"/>
                    <a:pt x="500" y="33"/>
                    <a:pt x="500" y="33"/>
                  </a:cubicBezTo>
                  <a:cubicBezTo>
                    <a:pt x="475" y="37"/>
                    <a:pt x="475" y="37"/>
                    <a:pt x="475" y="37"/>
                  </a:cubicBezTo>
                  <a:cubicBezTo>
                    <a:pt x="472" y="38"/>
                    <a:pt x="471" y="40"/>
                    <a:pt x="471" y="42"/>
                  </a:cubicBezTo>
                  <a:cubicBezTo>
                    <a:pt x="471" y="68"/>
                    <a:pt x="471" y="68"/>
                    <a:pt x="471" y="68"/>
                  </a:cubicBezTo>
                  <a:cubicBezTo>
                    <a:pt x="425" y="68"/>
                    <a:pt x="425" y="68"/>
                    <a:pt x="425" y="68"/>
                  </a:cubicBezTo>
                  <a:cubicBezTo>
                    <a:pt x="425" y="57"/>
                    <a:pt x="425" y="57"/>
                    <a:pt x="425" y="57"/>
                  </a:cubicBezTo>
                  <a:cubicBezTo>
                    <a:pt x="425" y="53"/>
                    <a:pt x="426" y="50"/>
                    <a:pt x="427" y="49"/>
                  </a:cubicBezTo>
                  <a:cubicBezTo>
                    <a:pt x="430" y="47"/>
                    <a:pt x="432" y="46"/>
                    <a:pt x="437" y="46"/>
                  </a:cubicBezTo>
                  <a:cubicBezTo>
                    <a:pt x="440" y="46"/>
                    <a:pt x="445" y="47"/>
                    <a:pt x="447" y="47"/>
                  </a:cubicBezTo>
                  <a:cubicBezTo>
                    <a:pt x="447" y="47"/>
                    <a:pt x="448" y="47"/>
                    <a:pt x="448" y="47"/>
                  </a:cubicBezTo>
                  <a:cubicBezTo>
                    <a:pt x="449" y="48"/>
                    <a:pt x="450" y="48"/>
                    <a:pt x="451" y="48"/>
                  </a:cubicBezTo>
                  <a:cubicBezTo>
                    <a:pt x="452" y="48"/>
                    <a:pt x="452" y="47"/>
                    <a:pt x="452" y="45"/>
                  </a:cubicBezTo>
                  <a:cubicBezTo>
                    <a:pt x="455" y="31"/>
                    <a:pt x="455" y="31"/>
                    <a:pt x="455" y="31"/>
                  </a:cubicBezTo>
                  <a:cubicBezTo>
                    <a:pt x="455" y="31"/>
                    <a:pt x="455" y="30"/>
                    <a:pt x="455" y="29"/>
                  </a:cubicBezTo>
                  <a:cubicBezTo>
                    <a:pt x="455" y="28"/>
                    <a:pt x="454" y="27"/>
                    <a:pt x="453" y="26"/>
                  </a:cubicBezTo>
                  <a:cubicBezTo>
                    <a:pt x="450" y="26"/>
                    <a:pt x="441" y="23"/>
                    <a:pt x="426" y="23"/>
                  </a:cubicBezTo>
                  <a:cubicBezTo>
                    <a:pt x="402" y="23"/>
                    <a:pt x="391" y="34"/>
                    <a:pt x="391" y="55"/>
                  </a:cubicBezTo>
                  <a:cubicBezTo>
                    <a:pt x="391" y="68"/>
                    <a:pt x="391" y="68"/>
                    <a:pt x="391" y="68"/>
                  </a:cubicBezTo>
                  <a:cubicBezTo>
                    <a:pt x="376" y="68"/>
                    <a:pt x="376" y="68"/>
                    <a:pt x="376" y="68"/>
                  </a:cubicBezTo>
                  <a:cubicBezTo>
                    <a:pt x="374" y="68"/>
                    <a:pt x="373" y="69"/>
                    <a:pt x="373" y="71"/>
                  </a:cubicBezTo>
                  <a:cubicBezTo>
                    <a:pt x="373" y="89"/>
                    <a:pt x="373" y="89"/>
                    <a:pt x="373" y="89"/>
                  </a:cubicBezTo>
                  <a:cubicBezTo>
                    <a:pt x="373" y="90"/>
                    <a:pt x="374" y="91"/>
                    <a:pt x="376" y="91"/>
                  </a:cubicBezTo>
                  <a:cubicBezTo>
                    <a:pt x="391" y="91"/>
                    <a:pt x="391" y="91"/>
                    <a:pt x="391" y="91"/>
                  </a:cubicBezTo>
                  <a:cubicBezTo>
                    <a:pt x="391" y="169"/>
                    <a:pt x="391" y="169"/>
                    <a:pt x="391" y="169"/>
                  </a:cubicBezTo>
                  <a:cubicBezTo>
                    <a:pt x="391" y="170"/>
                    <a:pt x="392" y="171"/>
                    <a:pt x="393" y="171"/>
                  </a:cubicBezTo>
                  <a:cubicBezTo>
                    <a:pt x="422" y="171"/>
                    <a:pt x="422" y="171"/>
                    <a:pt x="422" y="171"/>
                  </a:cubicBezTo>
                  <a:cubicBezTo>
                    <a:pt x="424" y="171"/>
                    <a:pt x="425" y="170"/>
                    <a:pt x="425" y="169"/>
                  </a:cubicBezTo>
                  <a:cubicBezTo>
                    <a:pt x="425" y="91"/>
                    <a:pt x="425" y="91"/>
                    <a:pt x="425" y="91"/>
                  </a:cubicBezTo>
                  <a:cubicBezTo>
                    <a:pt x="471" y="91"/>
                    <a:pt x="471" y="91"/>
                    <a:pt x="471" y="91"/>
                  </a:cubicBezTo>
                  <a:cubicBezTo>
                    <a:pt x="471" y="139"/>
                    <a:pt x="471" y="139"/>
                    <a:pt x="471" y="139"/>
                  </a:cubicBezTo>
                  <a:cubicBezTo>
                    <a:pt x="471" y="164"/>
                    <a:pt x="484" y="173"/>
                    <a:pt x="508" y="173"/>
                  </a:cubicBezTo>
                  <a:cubicBezTo>
                    <a:pt x="522" y="173"/>
                    <a:pt x="531" y="170"/>
                    <a:pt x="533" y="169"/>
                  </a:cubicBezTo>
                  <a:cubicBezTo>
                    <a:pt x="535" y="169"/>
                    <a:pt x="536" y="168"/>
                    <a:pt x="536" y="166"/>
                  </a:cubicBezTo>
                  <a:cubicBezTo>
                    <a:pt x="536" y="165"/>
                    <a:pt x="536" y="164"/>
                    <a:pt x="536" y="164"/>
                  </a:cubicBezTo>
                  <a:cubicBezTo>
                    <a:pt x="533" y="150"/>
                    <a:pt x="533" y="150"/>
                    <a:pt x="533" y="150"/>
                  </a:cubicBezTo>
                  <a:cubicBezTo>
                    <a:pt x="532" y="149"/>
                    <a:pt x="532" y="148"/>
                    <a:pt x="531" y="148"/>
                  </a:cubicBezTo>
                  <a:cubicBezTo>
                    <a:pt x="531" y="148"/>
                    <a:pt x="530" y="148"/>
                    <a:pt x="529" y="148"/>
                  </a:cubicBezTo>
                  <a:cubicBezTo>
                    <a:pt x="529" y="148"/>
                    <a:pt x="529" y="148"/>
                    <a:pt x="528" y="148"/>
                  </a:cubicBezTo>
                  <a:cubicBezTo>
                    <a:pt x="526" y="149"/>
                    <a:pt x="522" y="149"/>
                    <a:pt x="517" y="149"/>
                  </a:cubicBezTo>
                  <a:cubicBezTo>
                    <a:pt x="507" y="149"/>
                    <a:pt x="505" y="144"/>
                    <a:pt x="505" y="137"/>
                  </a:cubicBezTo>
                  <a:cubicBezTo>
                    <a:pt x="505" y="92"/>
                    <a:pt x="505" y="92"/>
                    <a:pt x="505" y="92"/>
                  </a:cubicBezTo>
                  <a:cubicBezTo>
                    <a:pt x="556" y="92"/>
                    <a:pt x="556" y="92"/>
                    <a:pt x="556" y="92"/>
                  </a:cubicBezTo>
                  <a:cubicBezTo>
                    <a:pt x="556" y="159"/>
                    <a:pt x="556" y="159"/>
                    <a:pt x="556" y="159"/>
                  </a:cubicBezTo>
                  <a:cubicBezTo>
                    <a:pt x="556" y="165"/>
                    <a:pt x="562" y="168"/>
                    <a:pt x="573" y="170"/>
                  </a:cubicBezTo>
                  <a:cubicBezTo>
                    <a:pt x="582" y="172"/>
                    <a:pt x="594" y="174"/>
                    <a:pt x="604" y="174"/>
                  </a:cubicBezTo>
                  <a:cubicBezTo>
                    <a:pt x="616" y="174"/>
                    <a:pt x="628" y="172"/>
                    <a:pt x="637" y="165"/>
                  </a:cubicBezTo>
                  <a:cubicBezTo>
                    <a:pt x="649" y="172"/>
                    <a:pt x="662" y="174"/>
                    <a:pt x="675" y="174"/>
                  </a:cubicBezTo>
                  <a:cubicBezTo>
                    <a:pt x="699" y="174"/>
                    <a:pt x="715" y="168"/>
                    <a:pt x="715" y="144"/>
                  </a:cubicBezTo>
                  <a:cubicBezTo>
                    <a:pt x="715" y="71"/>
                    <a:pt x="715" y="71"/>
                    <a:pt x="715" y="71"/>
                  </a:cubicBezTo>
                  <a:cubicBezTo>
                    <a:pt x="715" y="69"/>
                    <a:pt x="714" y="68"/>
                    <a:pt x="713" y="68"/>
                  </a:cubicBezTo>
                  <a:cubicBezTo>
                    <a:pt x="684" y="68"/>
                    <a:pt x="684" y="68"/>
                    <a:pt x="684" y="68"/>
                  </a:cubicBezTo>
                  <a:cubicBezTo>
                    <a:pt x="683" y="68"/>
                    <a:pt x="682" y="69"/>
                    <a:pt x="682" y="71"/>
                  </a:cubicBezTo>
                  <a:lnTo>
                    <a:pt x="682" y="139"/>
                  </a:lnTo>
                  <a:close/>
                  <a:moveTo>
                    <a:pt x="912" y="86"/>
                  </a:moveTo>
                  <a:cubicBezTo>
                    <a:pt x="912" y="70"/>
                    <a:pt x="912" y="70"/>
                    <a:pt x="912" y="70"/>
                  </a:cubicBezTo>
                  <a:cubicBezTo>
                    <a:pt x="912" y="67"/>
                    <a:pt x="911" y="66"/>
                    <a:pt x="908" y="66"/>
                  </a:cubicBezTo>
                  <a:cubicBezTo>
                    <a:pt x="905" y="66"/>
                    <a:pt x="905" y="66"/>
                    <a:pt x="905" y="66"/>
                  </a:cubicBezTo>
                  <a:cubicBezTo>
                    <a:pt x="893" y="66"/>
                    <a:pt x="879" y="67"/>
                    <a:pt x="870" y="69"/>
                  </a:cubicBezTo>
                  <a:cubicBezTo>
                    <a:pt x="858" y="72"/>
                    <a:pt x="852" y="74"/>
                    <a:pt x="852" y="81"/>
                  </a:cubicBezTo>
                  <a:cubicBezTo>
                    <a:pt x="852" y="169"/>
                    <a:pt x="852" y="169"/>
                    <a:pt x="852" y="169"/>
                  </a:cubicBezTo>
                  <a:cubicBezTo>
                    <a:pt x="852" y="170"/>
                    <a:pt x="853" y="171"/>
                    <a:pt x="855" y="171"/>
                  </a:cubicBezTo>
                  <a:cubicBezTo>
                    <a:pt x="884" y="171"/>
                    <a:pt x="884" y="171"/>
                    <a:pt x="884" y="171"/>
                  </a:cubicBezTo>
                  <a:cubicBezTo>
                    <a:pt x="885" y="171"/>
                    <a:pt x="886" y="170"/>
                    <a:pt x="886" y="169"/>
                  </a:cubicBezTo>
                  <a:cubicBezTo>
                    <a:pt x="886" y="92"/>
                    <a:pt x="886" y="92"/>
                    <a:pt x="886" y="92"/>
                  </a:cubicBezTo>
                  <a:cubicBezTo>
                    <a:pt x="888" y="91"/>
                    <a:pt x="897" y="90"/>
                    <a:pt x="909" y="90"/>
                  </a:cubicBezTo>
                  <a:cubicBezTo>
                    <a:pt x="912" y="90"/>
                    <a:pt x="912" y="88"/>
                    <a:pt x="912" y="86"/>
                  </a:cubicBezTo>
                  <a:moveTo>
                    <a:pt x="261" y="120"/>
                  </a:moveTo>
                  <a:cubicBezTo>
                    <a:pt x="261" y="150"/>
                    <a:pt x="268" y="174"/>
                    <a:pt x="313" y="174"/>
                  </a:cubicBezTo>
                  <a:cubicBezTo>
                    <a:pt x="358" y="174"/>
                    <a:pt x="364" y="150"/>
                    <a:pt x="364" y="120"/>
                  </a:cubicBezTo>
                  <a:cubicBezTo>
                    <a:pt x="364" y="89"/>
                    <a:pt x="358" y="66"/>
                    <a:pt x="313" y="66"/>
                  </a:cubicBezTo>
                  <a:cubicBezTo>
                    <a:pt x="268" y="66"/>
                    <a:pt x="261" y="89"/>
                    <a:pt x="261" y="120"/>
                  </a:cubicBezTo>
                  <a:moveTo>
                    <a:pt x="296" y="120"/>
                  </a:moveTo>
                  <a:cubicBezTo>
                    <a:pt x="296" y="97"/>
                    <a:pt x="297" y="88"/>
                    <a:pt x="313" y="88"/>
                  </a:cubicBezTo>
                  <a:cubicBezTo>
                    <a:pt x="328" y="88"/>
                    <a:pt x="329" y="97"/>
                    <a:pt x="329" y="120"/>
                  </a:cubicBezTo>
                  <a:cubicBezTo>
                    <a:pt x="329" y="143"/>
                    <a:pt x="328" y="152"/>
                    <a:pt x="313" y="152"/>
                  </a:cubicBezTo>
                  <a:cubicBezTo>
                    <a:pt x="297" y="152"/>
                    <a:pt x="296" y="143"/>
                    <a:pt x="296" y="120"/>
                  </a:cubicBezTo>
                  <a:moveTo>
                    <a:pt x="1069" y="75"/>
                  </a:moveTo>
                  <a:cubicBezTo>
                    <a:pt x="1073" y="75"/>
                    <a:pt x="1073" y="75"/>
                    <a:pt x="1073" y="75"/>
                  </a:cubicBezTo>
                  <a:cubicBezTo>
                    <a:pt x="1078" y="92"/>
                    <a:pt x="1078" y="92"/>
                    <a:pt x="1078" y="92"/>
                  </a:cubicBezTo>
                  <a:cubicBezTo>
                    <a:pt x="1064" y="92"/>
                    <a:pt x="1064" y="92"/>
                    <a:pt x="1064" y="92"/>
                  </a:cubicBezTo>
                  <a:lnTo>
                    <a:pt x="1069" y="75"/>
                  </a:lnTo>
                  <a:close/>
                  <a:moveTo>
                    <a:pt x="1131" y="95"/>
                  </a:moveTo>
                  <a:cubicBezTo>
                    <a:pt x="1131" y="106"/>
                    <a:pt x="1131" y="106"/>
                    <a:pt x="1131" y="106"/>
                  </a:cubicBezTo>
                  <a:cubicBezTo>
                    <a:pt x="1131" y="106"/>
                    <a:pt x="1128" y="106"/>
                    <a:pt x="1125" y="106"/>
                  </a:cubicBezTo>
                  <a:cubicBezTo>
                    <a:pt x="1117" y="106"/>
                    <a:pt x="1112" y="104"/>
                    <a:pt x="1112" y="91"/>
                  </a:cubicBezTo>
                  <a:cubicBezTo>
                    <a:pt x="1112" y="77"/>
                    <a:pt x="1117" y="75"/>
                    <a:pt x="1126" y="75"/>
                  </a:cubicBezTo>
                  <a:cubicBezTo>
                    <a:pt x="1130" y="75"/>
                    <a:pt x="1134" y="76"/>
                    <a:pt x="1137" y="76"/>
                  </a:cubicBezTo>
                  <a:cubicBezTo>
                    <a:pt x="1137" y="76"/>
                    <a:pt x="1138" y="76"/>
                    <a:pt x="1138" y="76"/>
                  </a:cubicBezTo>
                  <a:cubicBezTo>
                    <a:pt x="1138" y="76"/>
                    <a:pt x="1139" y="76"/>
                    <a:pt x="1139" y="76"/>
                  </a:cubicBezTo>
                  <a:cubicBezTo>
                    <a:pt x="1140" y="76"/>
                    <a:pt x="1140" y="76"/>
                    <a:pt x="1140" y="75"/>
                  </a:cubicBezTo>
                  <a:cubicBezTo>
                    <a:pt x="1141" y="72"/>
                    <a:pt x="1141" y="72"/>
                    <a:pt x="1141" y="72"/>
                  </a:cubicBezTo>
                  <a:cubicBezTo>
                    <a:pt x="1141" y="72"/>
                    <a:pt x="1141" y="71"/>
                    <a:pt x="1141" y="71"/>
                  </a:cubicBezTo>
                  <a:cubicBezTo>
                    <a:pt x="1141" y="70"/>
                    <a:pt x="1140" y="70"/>
                    <a:pt x="1140" y="70"/>
                  </a:cubicBezTo>
                  <a:cubicBezTo>
                    <a:pt x="1139" y="69"/>
                    <a:pt x="1132" y="67"/>
                    <a:pt x="1124" y="67"/>
                  </a:cubicBezTo>
                  <a:cubicBezTo>
                    <a:pt x="1108" y="67"/>
                    <a:pt x="1101" y="73"/>
                    <a:pt x="1101" y="90"/>
                  </a:cubicBezTo>
                  <a:cubicBezTo>
                    <a:pt x="1101" y="107"/>
                    <a:pt x="1107" y="113"/>
                    <a:pt x="1125" y="113"/>
                  </a:cubicBezTo>
                  <a:cubicBezTo>
                    <a:pt x="1129" y="113"/>
                    <a:pt x="1135" y="112"/>
                    <a:pt x="1137" y="112"/>
                  </a:cubicBezTo>
                  <a:cubicBezTo>
                    <a:pt x="1137" y="112"/>
                    <a:pt x="1137" y="112"/>
                    <a:pt x="1137" y="112"/>
                  </a:cubicBezTo>
                  <a:cubicBezTo>
                    <a:pt x="1140" y="111"/>
                    <a:pt x="1141" y="110"/>
                    <a:pt x="1141" y="107"/>
                  </a:cubicBezTo>
                  <a:cubicBezTo>
                    <a:pt x="1141" y="88"/>
                    <a:pt x="1141" y="88"/>
                    <a:pt x="1141" y="88"/>
                  </a:cubicBezTo>
                  <a:cubicBezTo>
                    <a:pt x="1141" y="88"/>
                    <a:pt x="1141" y="88"/>
                    <a:pt x="1140" y="88"/>
                  </a:cubicBezTo>
                  <a:cubicBezTo>
                    <a:pt x="1124" y="88"/>
                    <a:pt x="1124" y="88"/>
                    <a:pt x="1124" y="88"/>
                  </a:cubicBezTo>
                  <a:cubicBezTo>
                    <a:pt x="1123" y="88"/>
                    <a:pt x="1123" y="88"/>
                    <a:pt x="1123" y="88"/>
                  </a:cubicBezTo>
                  <a:cubicBezTo>
                    <a:pt x="1123" y="94"/>
                    <a:pt x="1123" y="94"/>
                    <a:pt x="1123" y="94"/>
                  </a:cubicBezTo>
                  <a:cubicBezTo>
                    <a:pt x="1123" y="94"/>
                    <a:pt x="1123" y="95"/>
                    <a:pt x="1124" y="95"/>
                  </a:cubicBezTo>
                  <a:lnTo>
                    <a:pt x="1131" y="95"/>
                  </a:lnTo>
                  <a:close/>
                  <a:moveTo>
                    <a:pt x="1079" y="68"/>
                  </a:moveTo>
                  <a:cubicBezTo>
                    <a:pt x="1062" y="68"/>
                    <a:pt x="1062" y="68"/>
                    <a:pt x="1062" y="68"/>
                  </a:cubicBezTo>
                  <a:cubicBezTo>
                    <a:pt x="1062" y="68"/>
                    <a:pt x="1062" y="69"/>
                    <a:pt x="1062" y="69"/>
                  </a:cubicBezTo>
                  <a:cubicBezTo>
                    <a:pt x="1047" y="111"/>
                    <a:pt x="1047" y="111"/>
                    <a:pt x="1047" y="111"/>
                  </a:cubicBezTo>
                  <a:cubicBezTo>
                    <a:pt x="1047" y="111"/>
                    <a:pt x="1047" y="112"/>
                    <a:pt x="1047" y="112"/>
                  </a:cubicBezTo>
                  <a:cubicBezTo>
                    <a:pt x="1047" y="112"/>
                    <a:pt x="1047" y="112"/>
                    <a:pt x="1048" y="112"/>
                  </a:cubicBezTo>
                  <a:cubicBezTo>
                    <a:pt x="1058" y="112"/>
                    <a:pt x="1058" y="112"/>
                    <a:pt x="1058" y="112"/>
                  </a:cubicBezTo>
                  <a:cubicBezTo>
                    <a:pt x="1059" y="112"/>
                    <a:pt x="1059" y="112"/>
                    <a:pt x="1059" y="112"/>
                  </a:cubicBezTo>
                  <a:cubicBezTo>
                    <a:pt x="1062" y="99"/>
                    <a:pt x="1062" y="99"/>
                    <a:pt x="1062" y="99"/>
                  </a:cubicBezTo>
                  <a:cubicBezTo>
                    <a:pt x="1080" y="99"/>
                    <a:pt x="1080" y="99"/>
                    <a:pt x="1080" y="99"/>
                  </a:cubicBezTo>
                  <a:cubicBezTo>
                    <a:pt x="1083" y="112"/>
                    <a:pt x="1083" y="112"/>
                    <a:pt x="1083" y="112"/>
                  </a:cubicBezTo>
                  <a:cubicBezTo>
                    <a:pt x="1083" y="112"/>
                    <a:pt x="1083" y="112"/>
                    <a:pt x="1083" y="112"/>
                  </a:cubicBezTo>
                  <a:cubicBezTo>
                    <a:pt x="1093" y="112"/>
                    <a:pt x="1093" y="112"/>
                    <a:pt x="1093" y="112"/>
                  </a:cubicBezTo>
                  <a:cubicBezTo>
                    <a:pt x="1094" y="112"/>
                    <a:pt x="1094" y="112"/>
                    <a:pt x="1094" y="112"/>
                  </a:cubicBezTo>
                  <a:cubicBezTo>
                    <a:pt x="1094" y="112"/>
                    <a:pt x="1094" y="111"/>
                    <a:pt x="1094" y="111"/>
                  </a:cubicBezTo>
                  <a:cubicBezTo>
                    <a:pt x="1080" y="69"/>
                    <a:pt x="1080" y="69"/>
                    <a:pt x="1080" y="69"/>
                  </a:cubicBezTo>
                  <a:cubicBezTo>
                    <a:pt x="1080" y="69"/>
                    <a:pt x="1080" y="68"/>
                    <a:pt x="1079" y="68"/>
                  </a:cubicBezTo>
                  <a:moveTo>
                    <a:pt x="70" y="68"/>
                  </a:moveTo>
                  <a:cubicBezTo>
                    <a:pt x="70" y="98"/>
                    <a:pt x="70" y="98"/>
                    <a:pt x="70" y="98"/>
                  </a:cubicBezTo>
                  <a:cubicBezTo>
                    <a:pt x="70" y="119"/>
                    <a:pt x="61" y="132"/>
                    <a:pt x="41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43" y="172"/>
                    <a:pt x="43" y="172"/>
                    <a:pt x="43" y="172"/>
                  </a:cubicBezTo>
                  <a:cubicBezTo>
                    <a:pt x="81" y="172"/>
                    <a:pt x="111" y="145"/>
                    <a:pt x="111" y="101"/>
                  </a:cubicBezTo>
                  <a:cubicBezTo>
                    <a:pt x="111" y="68"/>
                    <a:pt x="111" y="68"/>
                    <a:pt x="111" y="68"/>
                  </a:cubicBezTo>
                  <a:lnTo>
                    <a:pt x="7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757238" y="812800"/>
              <a:ext cx="77787" cy="120650"/>
            </a:xfrm>
            <a:custGeom>
              <a:avLst/>
              <a:gdLst>
                <a:gd name="T0" fmla="*/ 49 w 49"/>
                <a:gd name="T1" fmla="*/ 0 h 76"/>
                <a:gd name="T2" fmla="*/ 49 w 49"/>
                <a:gd name="T3" fmla="*/ 9 h 76"/>
                <a:gd name="T4" fmla="*/ 11 w 49"/>
                <a:gd name="T5" fmla="*/ 9 h 76"/>
                <a:gd name="T6" fmla="*/ 11 w 49"/>
                <a:gd name="T7" fmla="*/ 33 h 76"/>
                <a:gd name="T8" fmla="*/ 46 w 49"/>
                <a:gd name="T9" fmla="*/ 33 h 76"/>
                <a:gd name="T10" fmla="*/ 46 w 49"/>
                <a:gd name="T11" fmla="*/ 43 h 76"/>
                <a:gd name="T12" fmla="*/ 11 w 49"/>
                <a:gd name="T13" fmla="*/ 43 h 76"/>
                <a:gd name="T14" fmla="*/ 11 w 49"/>
                <a:gd name="T15" fmla="*/ 76 h 76"/>
                <a:gd name="T16" fmla="*/ 0 w 49"/>
                <a:gd name="T17" fmla="*/ 76 h 76"/>
                <a:gd name="T18" fmla="*/ 0 w 49"/>
                <a:gd name="T19" fmla="*/ 0 h 76"/>
                <a:gd name="T20" fmla="*/ 49 w 49"/>
                <a:gd name="T2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76">
                  <a:moveTo>
                    <a:pt x="49" y="0"/>
                  </a:moveTo>
                  <a:lnTo>
                    <a:pt x="49" y="9"/>
                  </a:lnTo>
                  <a:lnTo>
                    <a:pt x="11" y="9"/>
                  </a:lnTo>
                  <a:lnTo>
                    <a:pt x="11" y="33"/>
                  </a:lnTo>
                  <a:lnTo>
                    <a:pt x="46" y="33"/>
                  </a:lnTo>
                  <a:lnTo>
                    <a:pt x="46" y="43"/>
                  </a:lnTo>
                  <a:lnTo>
                    <a:pt x="11" y="43"/>
                  </a:lnTo>
                  <a:lnTo>
                    <a:pt x="11" y="76"/>
                  </a:lnTo>
                  <a:lnTo>
                    <a:pt x="0" y="76"/>
                  </a:lnTo>
                  <a:lnTo>
                    <a:pt x="0" y="0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857250" y="850900"/>
              <a:ext cx="47625" cy="82550"/>
            </a:xfrm>
            <a:custGeom>
              <a:avLst/>
              <a:gdLst>
                <a:gd name="T0" fmla="*/ 23 w 23"/>
                <a:gd name="T1" fmla="*/ 1 h 40"/>
                <a:gd name="T2" fmla="*/ 23 w 23"/>
                <a:gd name="T3" fmla="*/ 9 h 40"/>
                <a:gd name="T4" fmla="*/ 19 w 23"/>
                <a:gd name="T5" fmla="*/ 8 h 40"/>
                <a:gd name="T6" fmla="*/ 8 w 23"/>
                <a:gd name="T7" fmla="*/ 20 h 40"/>
                <a:gd name="T8" fmla="*/ 8 w 23"/>
                <a:gd name="T9" fmla="*/ 40 h 40"/>
                <a:gd name="T10" fmla="*/ 0 w 23"/>
                <a:gd name="T11" fmla="*/ 40 h 40"/>
                <a:gd name="T12" fmla="*/ 0 w 23"/>
                <a:gd name="T13" fmla="*/ 1 h 40"/>
                <a:gd name="T14" fmla="*/ 8 w 23"/>
                <a:gd name="T15" fmla="*/ 1 h 40"/>
                <a:gd name="T16" fmla="*/ 8 w 23"/>
                <a:gd name="T17" fmla="*/ 7 h 40"/>
                <a:gd name="T18" fmla="*/ 8 w 23"/>
                <a:gd name="T19" fmla="*/ 7 h 40"/>
                <a:gd name="T20" fmla="*/ 20 w 23"/>
                <a:gd name="T21" fmla="*/ 0 h 40"/>
                <a:gd name="T22" fmla="*/ 23 w 23"/>
                <a:gd name="T2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23" y="1"/>
                  </a:moveTo>
                  <a:cubicBezTo>
                    <a:pt x="23" y="9"/>
                    <a:pt x="23" y="9"/>
                    <a:pt x="23" y="9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1" y="8"/>
                    <a:pt x="8" y="12"/>
                    <a:pt x="8" y="2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3"/>
                    <a:pt x="15" y="0"/>
                    <a:pt x="20" y="0"/>
                  </a:cubicBezTo>
                  <a:cubicBezTo>
                    <a:pt x="21" y="0"/>
                    <a:pt x="22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917575" y="850900"/>
              <a:ext cx="82550" cy="84138"/>
            </a:xfrm>
            <a:custGeom>
              <a:avLst/>
              <a:gdLst>
                <a:gd name="T0" fmla="*/ 40 w 40"/>
                <a:gd name="T1" fmla="*/ 21 h 41"/>
                <a:gd name="T2" fmla="*/ 40 w 40"/>
                <a:gd name="T3" fmla="*/ 23 h 41"/>
                <a:gd name="T4" fmla="*/ 8 w 40"/>
                <a:gd name="T5" fmla="*/ 23 h 41"/>
                <a:gd name="T6" fmla="*/ 22 w 40"/>
                <a:gd name="T7" fmla="*/ 35 h 41"/>
                <a:gd name="T8" fmla="*/ 32 w 40"/>
                <a:gd name="T9" fmla="*/ 29 h 41"/>
                <a:gd name="T10" fmla="*/ 38 w 40"/>
                <a:gd name="T11" fmla="*/ 33 h 41"/>
                <a:gd name="T12" fmla="*/ 21 w 40"/>
                <a:gd name="T13" fmla="*/ 41 h 41"/>
                <a:gd name="T14" fmla="*/ 0 w 40"/>
                <a:gd name="T15" fmla="*/ 21 h 41"/>
                <a:gd name="T16" fmla="*/ 21 w 40"/>
                <a:gd name="T17" fmla="*/ 0 h 41"/>
                <a:gd name="T18" fmla="*/ 40 w 40"/>
                <a:gd name="T19" fmla="*/ 21 h 41"/>
                <a:gd name="T20" fmla="*/ 32 w 40"/>
                <a:gd name="T21" fmla="*/ 17 h 41"/>
                <a:gd name="T22" fmla="*/ 21 w 40"/>
                <a:gd name="T23" fmla="*/ 6 h 41"/>
                <a:gd name="T24" fmla="*/ 8 w 40"/>
                <a:gd name="T25" fmla="*/ 17 h 41"/>
                <a:gd name="T26" fmla="*/ 32 w 40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40" y="21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5" y="35"/>
                    <a:pt x="22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4" y="39"/>
                    <a:pt x="28" y="41"/>
                    <a:pt x="21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32" y="0"/>
                    <a:pt x="40" y="8"/>
                    <a:pt x="40" y="21"/>
                  </a:cubicBezTo>
                  <a:close/>
                  <a:moveTo>
                    <a:pt x="32" y="17"/>
                  </a:moveTo>
                  <a:cubicBezTo>
                    <a:pt x="32" y="10"/>
                    <a:pt x="27" y="6"/>
                    <a:pt x="21" y="6"/>
                  </a:cubicBezTo>
                  <a:cubicBezTo>
                    <a:pt x="13" y="6"/>
                    <a:pt x="8" y="13"/>
                    <a:pt x="8" y="17"/>
                  </a:cubicBezTo>
                  <a:lnTo>
                    <a:pt x="3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1019175" y="850900"/>
              <a:ext cx="79375" cy="84138"/>
            </a:xfrm>
            <a:custGeom>
              <a:avLst/>
              <a:gdLst>
                <a:gd name="T0" fmla="*/ 39 w 39"/>
                <a:gd name="T1" fmla="*/ 21 h 41"/>
                <a:gd name="T2" fmla="*/ 39 w 39"/>
                <a:gd name="T3" fmla="*/ 23 h 41"/>
                <a:gd name="T4" fmla="*/ 8 w 39"/>
                <a:gd name="T5" fmla="*/ 23 h 41"/>
                <a:gd name="T6" fmla="*/ 21 w 39"/>
                <a:gd name="T7" fmla="*/ 35 h 41"/>
                <a:gd name="T8" fmla="*/ 32 w 39"/>
                <a:gd name="T9" fmla="*/ 29 h 41"/>
                <a:gd name="T10" fmla="*/ 37 w 39"/>
                <a:gd name="T11" fmla="*/ 33 h 41"/>
                <a:gd name="T12" fmla="*/ 20 w 39"/>
                <a:gd name="T13" fmla="*/ 41 h 41"/>
                <a:gd name="T14" fmla="*/ 0 w 39"/>
                <a:gd name="T15" fmla="*/ 21 h 41"/>
                <a:gd name="T16" fmla="*/ 20 w 39"/>
                <a:gd name="T17" fmla="*/ 0 h 41"/>
                <a:gd name="T18" fmla="*/ 39 w 39"/>
                <a:gd name="T19" fmla="*/ 21 h 41"/>
                <a:gd name="T20" fmla="*/ 31 w 39"/>
                <a:gd name="T21" fmla="*/ 17 h 41"/>
                <a:gd name="T22" fmla="*/ 20 w 39"/>
                <a:gd name="T23" fmla="*/ 6 h 41"/>
                <a:gd name="T24" fmla="*/ 8 w 39"/>
                <a:gd name="T25" fmla="*/ 17 h 41"/>
                <a:gd name="T26" fmla="*/ 31 w 39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1">
                  <a:moveTo>
                    <a:pt x="39" y="21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4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3" y="39"/>
                    <a:pt x="28" y="41"/>
                    <a:pt x="20" y="41"/>
                  </a:cubicBezTo>
                  <a:cubicBezTo>
                    <a:pt x="8" y="41"/>
                    <a:pt x="0" y="33"/>
                    <a:pt x="0" y="21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39" y="8"/>
                    <a:pt x="39" y="21"/>
                  </a:cubicBezTo>
                  <a:close/>
                  <a:moveTo>
                    <a:pt x="31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0"/>
            <p:cNvSpPr>
              <a:spLocks noEditPoints="1"/>
            </p:cNvSpPr>
            <p:nvPr userDrawn="1"/>
          </p:nvSpPr>
          <p:spPr bwMode="auto">
            <a:xfrm>
              <a:off x="1120775" y="804863"/>
              <a:ext cx="84137" cy="130175"/>
            </a:xfrm>
            <a:custGeom>
              <a:avLst/>
              <a:gdLst>
                <a:gd name="T0" fmla="*/ 41 w 41"/>
                <a:gd name="T1" fmla="*/ 0 h 63"/>
                <a:gd name="T2" fmla="*/ 41 w 41"/>
                <a:gd name="T3" fmla="*/ 62 h 63"/>
                <a:gd name="T4" fmla="*/ 33 w 41"/>
                <a:gd name="T5" fmla="*/ 62 h 63"/>
                <a:gd name="T6" fmla="*/ 33 w 41"/>
                <a:gd name="T7" fmla="*/ 57 h 63"/>
                <a:gd name="T8" fmla="*/ 33 w 41"/>
                <a:gd name="T9" fmla="*/ 57 h 63"/>
                <a:gd name="T10" fmla="*/ 20 w 41"/>
                <a:gd name="T11" fmla="*/ 63 h 63"/>
                <a:gd name="T12" fmla="*/ 0 w 41"/>
                <a:gd name="T13" fmla="*/ 43 h 63"/>
                <a:gd name="T14" fmla="*/ 20 w 41"/>
                <a:gd name="T15" fmla="*/ 22 h 63"/>
                <a:gd name="T16" fmla="*/ 33 w 41"/>
                <a:gd name="T17" fmla="*/ 29 h 63"/>
                <a:gd name="T18" fmla="*/ 33 w 41"/>
                <a:gd name="T19" fmla="*/ 29 h 63"/>
                <a:gd name="T20" fmla="*/ 33 w 41"/>
                <a:gd name="T21" fmla="*/ 0 h 63"/>
                <a:gd name="T22" fmla="*/ 41 w 41"/>
                <a:gd name="T23" fmla="*/ 0 h 63"/>
                <a:gd name="T24" fmla="*/ 21 w 41"/>
                <a:gd name="T25" fmla="*/ 56 h 63"/>
                <a:gd name="T26" fmla="*/ 33 w 41"/>
                <a:gd name="T27" fmla="*/ 43 h 63"/>
                <a:gd name="T28" fmla="*/ 20 w 41"/>
                <a:gd name="T29" fmla="*/ 29 h 63"/>
                <a:gd name="T30" fmla="*/ 8 w 41"/>
                <a:gd name="T31" fmla="*/ 43 h 63"/>
                <a:gd name="T32" fmla="*/ 21 w 41"/>
                <a:gd name="T33" fmla="*/ 5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63">
                  <a:moveTo>
                    <a:pt x="41" y="0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0" y="61"/>
                    <a:pt x="25" y="63"/>
                    <a:pt x="20" y="63"/>
                  </a:cubicBezTo>
                  <a:cubicBezTo>
                    <a:pt x="8" y="63"/>
                    <a:pt x="0" y="55"/>
                    <a:pt x="0" y="43"/>
                  </a:cubicBezTo>
                  <a:cubicBezTo>
                    <a:pt x="0" y="30"/>
                    <a:pt x="8" y="22"/>
                    <a:pt x="20" y="22"/>
                  </a:cubicBezTo>
                  <a:cubicBezTo>
                    <a:pt x="25" y="22"/>
                    <a:pt x="30" y="24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41" y="0"/>
                  </a:lnTo>
                  <a:close/>
                  <a:moveTo>
                    <a:pt x="21" y="56"/>
                  </a:moveTo>
                  <a:cubicBezTo>
                    <a:pt x="28" y="56"/>
                    <a:pt x="33" y="51"/>
                    <a:pt x="33" y="43"/>
                  </a:cubicBezTo>
                  <a:cubicBezTo>
                    <a:pt x="33" y="34"/>
                    <a:pt x="28" y="29"/>
                    <a:pt x="20" y="29"/>
                  </a:cubicBezTo>
                  <a:cubicBezTo>
                    <a:pt x="13" y="29"/>
                    <a:pt x="8" y="34"/>
                    <a:pt x="8" y="43"/>
                  </a:cubicBezTo>
                  <a:cubicBezTo>
                    <a:pt x="8" y="51"/>
                    <a:pt x="13" y="56"/>
                    <a:pt x="21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1230313" y="850900"/>
              <a:ext cx="84137" cy="84138"/>
            </a:xfrm>
            <a:custGeom>
              <a:avLst/>
              <a:gdLst>
                <a:gd name="T0" fmla="*/ 41 w 41"/>
                <a:gd name="T1" fmla="*/ 21 h 41"/>
                <a:gd name="T2" fmla="*/ 20 w 41"/>
                <a:gd name="T3" fmla="*/ 41 h 41"/>
                <a:gd name="T4" fmla="*/ 0 w 41"/>
                <a:gd name="T5" fmla="*/ 21 h 41"/>
                <a:gd name="T6" fmla="*/ 20 w 41"/>
                <a:gd name="T7" fmla="*/ 0 h 41"/>
                <a:gd name="T8" fmla="*/ 41 w 41"/>
                <a:gd name="T9" fmla="*/ 21 h 41"/>
                <a:gd name="T10" fmla="*/ 20 w 41"/>
                <a:gd name="T11" fmla="*/ 34 h 41"/>
                <a:gd name="T12" fmla="*/ 33 w 41"/>
                <a:gd name="T13" fmla="*/ 21 h 41"/>
                <a:gd name="T14" fmla="*/ 20 w 41"/>
                <a:gd name="T15" fmla="*/ 7 h 41"/>
                <a:gd name="T16" fmla="*/ 8 w 41"/>
                <a:gd name="T17" fmla="*/ 21 h 41"/>
                <a:gd name="T18" fmla="*/ 20 w 41"/>
                <a:gd name="T19" fmla="*/ 3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41" y="21"/>
                  </a:moveTo>
                  <a:cubicBezTo>
                    <a:pt x="41" y="32"/>
                    <a:pt x="32" y="41"/>
                    <a:pt x="20" y="41"/>
                  </a:cubicBezTo>
                  <a:cubicBezTo>
                    <a:pt x="9" y="41"/>
                    <a:pt x="0" y="32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1" y="9"/>
                    <a:pt x="41" y="21"/>
                  </a:cubicBezTo>
                  <a:close/>
                  <a:moveTo>
                    <a:pt x="20" y="34"/>
                  </a:moveTo>
                  <a:cubicBezTo>
                    <a:pt x="28" y="34"/>
                    <a:pt x="33" y="29"/>
                    <a:pt x="33" y="21"/>
                  </a:cubicBezTo>
                  <a:cubicBezTo>
                    <a:pt x="33" y="12"/>
                    <a:pt x="28" y="7"/>
                    <a:pt x="20" y="7"/>
                  </a:cubicBezTo>
                  <a:cubicBezTo>
                    <a:pt x="13" y="7"/>
                    <a:pt x="8" y="13"/>
                    <a:pt x="8" y="21"/>
                  </a:cubicBezTo>
                  <a:cubicBezTo>
                    <a:pt x="8" y="29"/>
                    <a:pt x="13" y="34"/>
                    <a:pt x="2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339850" y="850900"/>
              <a:ext cx="122237" cy="82550"/>
            </a:xfrm>
            <a:custGeom>
              <a:avLst/>
              <a:gdLst>
                <a:gd name="T0" fmla="*/ 32 w 59"/>
                <a:gd name="T1" fmla="*/ 7 h 40"/>
                <a:gd name="T2" fmla="*/ 44 w 59"/>
                <a:gd name="T3" fmla="*/ 0 h 40"/>
                <a:gd name="T4" fmla="*/ 59 w 59"/>
                <a:gd name="T5" fmla="*/ 17 h 40"/>
                <a:gd name="T6" fmla="*/ 59 w 59"/>
                <a:gd name="T7" fmla="*/ 40 h 40"/>
                <a:gd name="T8" fmla="*/ 52 w 59"/>
                <a:gd name="T9" fmla="*/ 40 h 40"/>
                <a:gd name="T10" fmla="*/ 52 w 59"/>
                <a:gd name="T11" fmla="*/ 18 h 40"/>
                <a:gd name="T12" fmla="*/ 43 w 59"/>
                <a:gd name="T13" fmla="*/ 7 h 40"/>
                <a:gd name="T14" fmla="*/ 33 w 59"/>
                <a:gd name="T15" fmla="*/ 18 h 40"/>
                <a:gd name="T16" fmla="*/ 33 w 59"/>
                <a:gd name="T17" fmla="*/ 40 h 40"/>
                <a:gd name="T18" fmla="*/ 26 w 59"/>
                <a:gd name="T19" fmla="*/ 40 h 40"/>
                <a:gd name="T20" fmla="*/ 26 w 59"/>
                <a:gd name="T21" fmla="*/ 19 h 40"/>
                <a:gd name="T22" fmla="*/ 18 w 59"/>
                <a:gd name="T23" fmla="*/ 7 h 40"/>
                <a:gd name="T24" fmla="*/ 8 w 59"/>
                <a:gd name="T25" fmla="*/ 20 h 40"/>
                <a:gd name="T26" fmla="*/ 8 w 59"/>
                <a:gd name="T27" fmla="*/ 40 h 40"/>
                <a:gd name="T28" fmla="*/ 0 w 59"/>
                <a:gd name="T29" fmla="*/ 40 h 40"/>
                <a:gd name="T30" fmla="*/ 0 w 59"/>
                <a:gd name="T31" fmla="*/ 1 h 40"/>
                <a:gd name="T32" fmla="*/ 7 w 59"/>
                <a:gd name="T33" fmla="*/ 1 h 40"/>
                <a:gd name="T34" fmla="*/ 7 w 59"/>
                <a:gd name="T35" fmla="*/ 7 h 40"/>
                <a:gd name="T36" fmla="*/ 7 w 59"/>
                <a:gd name="T37" fmla="*/ 7 h 40"/>
                <a:gd name="T38" fmla="*/ 20 w 59"/>
                <a:gd name="T39" fmla="*/ 0 h 40"/>
                <a:gd name="T40" fmla="*/ 32 w 59"/>
                <a:gd name="T41" fmla="*/ 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" h="40">
                  <a:moveTo>
                    <a:pt x="32" y="7"/>
                  </a:moveTo>
                  <a:cubicBezTo>
                    <a:pt x="34" y="3"/>
                    <a:pt x="39" y="0"/>
                    <a:pt x="44" y="0"/>
                  </a:cubicBezTo>
                  <a:cubicBezTo>
                    <a:pt x="54" y="0"/>
                    <a:pt x="59" y="6"/>
                    <a:pt x="59" y="17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0"/>
                    <a:pt x="49" y="7"/>
                    <a:pt x="43" y="7"/>
                  </a:cubicBezTo>
                  <a:cubicBezTo>
                    <a:pt x="37" y="7"/>
                    <a:pt x="33" y="11"/>
                    <a:pt x="33" y="18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0"/>
                    <a:pt x="23" y="7"/>
                    <a:pt x="18" y="7"/>
                  </a:cubicBezTo>
                  <a:cubicBezTo>
                    <a:pt x="12" y="7"/>
                    <a:pt x="8" y="12"/>
                    <a:pt x="8" y="2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9" y="3"/>
                    <a:pt x="14" y="0"/>
                    <a:pt x="20" y="0"/>
                  </a:cubicBezTo>
                  <a:cubicBezTo>
                    <a:pt x="26" y="0"/>
                    <a:pt x="29" y="2"/>
                    <a:pt x="3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538288" y="850900"/>
              <a:ext cx="73025" cy="84138"/>
            </a:xfrm>
            <a:custGeom>
              <a:avLst/>
              <a:gdLst>
                <a:gd name="T0" fmla="*/ 34 w 35"/>
                <a:gd name="T1" fmla="*/ 13 h 41"/>
                <a:gd name="T2" fmla="*/ 34 w 35"/>
                <a:gd name="T3" fmla="*/ 34 h 41"/>
                <a:gd name="T4" fmla="*/ 35 w 35"/>
                <a:gd name="T5" fmla="*/ 40 h 41"/>
                <a:gd name="T6" fmla="*/ 28 w 35"/>
                <a:gd name="T7" fmla="*/ 40 h 41"/>
                <a:gd name="T8" fmla="*/ 28 w 35"/>
                <a:gd name="T9" fmla="*/ 34 h 41"/>
                <a:gd name="T10" fmla="*/ 28 w 35"/>
                <a:gd name="T11" fmla="*/ 34 h 41"/>
                <a:gd name="T12" fmla="*/ 14 w 35"/>
                <a:gd name="T13" fmla="*/ 41 h 41"/>
                <a:gd name="T14" fmla="*/ 0 w 35"/>
                <a:gd name="T15" fmla="*/ 29 h 41"/>
                <a:gd name="T16" fmla="*/ 22 w 35"/>
                <a:gd name="T17" fmla="*/ 16 h 41"/>
                <a:gd name="T18" fmla="*/ 28 w 35"/>
                <a:gd name="T19" fmla="*/ 16 h 41"/>
                <a:gd name="T20" fmla="*/ 28 w 35"/>
                <a:gd name="T21" fmla="*/ 14 h 41"/>
                <a:gd name="T22" fmla="*/ 18 w 35"/>
                <a:gd name="T23" fmla="*/ 6 h 41"/>
                <a:gd name="T24" fmla="*/ 7 w 35"/>
                <a:gd name="T25" fmla="*/ 10 h 41"/>
                <a:gd name="T26" fmla="*/ 3 w 35"/>
                <a:gd name="T27" fmla="*/ 6 h 41"/>
                <a:gd name="T28" fmla="*/ 18 w 35"/>
                <a:gd name="T29" fmla="*/ 0 h 41"/>
                <a:gd name="T30" fmla="*/ 34 w 35"/>
                <a:gd name="T31" fmla="*/ 13 h 41"/>
                <a:gd name="T32" fmla="*/ 16 w 35"/>
                <a:gd name="T33" fmla="*/ 35 h 41"/>
                <a:gd name="T34" fmla="*/ 28 w 35"/>
                <a:gd name="T35" fmla="*/ 23 h 41"/>
                <a:gd name="T36" fmla="*/ 28 w 35"/>
                <a:gd name="T37" fmla="*/ 21 h 41"/>
                <a:gd name="T38" fmla="*/ 23 w 35"/>
                <a:gd name="T39" fmla="*/ 21 h 41"/>
                <a:gd name="T40" fmla="*/ 8 w 35"/>
                <a:gd name="T41" fmla="*/ 29 h 41"/>
                <a:gd name="T42" fmla="*/ 16 w 35"/>
                <a:gd name="T4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41">
                  <a:moveTo>
                    <a:pt x="34" y="13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5" y="38"/>
                    <a:pt x="35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8"/>
                    <a:pt x="28" y="37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4" y="39"/>
                    <a:pt x="20" y="41"/>
                    <a:pt x="14" y="41"/>
                  </a:cubicBezTo>
                  <a:cubicBezTo>
                    <a:pt x="6" y="41"/>
                    <a:pt x="0" y="37"/>
                    <a:pt x="0" y="29"/>
                  </a:cubicBezTo>
                  <a:cubicBezTo>
                    <a:pt x="0" y="22"/>
                    <a:pt x="7" y="16"/>
                    <a:pt x="22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9"/>
                    <a:pt x="24" y="6"/>
                    <a:pt x="18" y="6"/>
                  </a:cubicBezTo>
                  <a:cubicBezTo>
                    <a:pt x="14" y="6"/>
                    <a:pt x="11" y="7"/>
                    <a:pt x="7" y="10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7" y="2"/>
                    <a:pt x="12" y="0"/>
                    <a:pt x="18" y="0"/>
                  </a:cubicBezTo>
                  <a:cubicBezTo>
                    <a:pt x="30" y="0"/>
                    <a:pt x="34" y="7"/>
                    <a:pt x="34" y="13"/>
                  </a:cubicBezTo>
                  <a:close/>
                  <a:moveTo>
                    <a:pt x="16" y="35"/>
                  </a:moveTo>
                  <a:cubicBezTo>
                    <a:pt x="23" y="35"/>
                    <a:pt x="28" y="31"/>
                    <a:pt x="28" y="23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11" y="21"/>
                    <a:pt x="8" y="25"/>
                    <a:pt x="8" y="29"/>
                  </a:cubicBezTo>
                  <a:cubicBezTo>
                    <a:pt x="8" y="33"/>
                    <a:pt x="11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1628775" y="850900"/>
              <a:ext cx="65087" cy="84138"/>
            </a:xfrm>
            <a:custGeom>
              <a:avLst/>
              <a:gdLst>
                <a:gd name="T0" fmla="*/ 30 w 31"/>
                <a:gd name="T1" fmla="*/ 6 h 41"/>
                <a:gd name="T2" fmla="*/ 25 w 31"/>
                <a:gd name="T3" fmla="*/ 11 h 41"/>
                <a:gd name="T4" fmla="*/ 17 w 31"/>
                <a:gd name="T5" fmla="*/ 7 h 41"/>
                <a:gd name="T6" fmla="*/ 10 w 31"/>
                <a:gd name="T7" fmla="*/ 11 h 41"/>
                <a:gd name="T8" fmla="*/ 18 w 31"/>
                <a:gd name="T9" fmla="*/ 17 h 41"/>
                <a:gd name="T10" fmla="*/ 31 w 31"/>
                <a:gd name="T11" fmla="*/ 29 h 41"/>
                <a:gd name="T12" fmla="*/ 15 w 31"/>
                <a:gd name="T13" fmla="*/ 41 h 41"/>
                <a:gd name="T14" fmla="*/ 0 w 31"/>
                <a:gd name="T15" fmla="*/ 34 h 41"/>
                <a:gd name="T16" fmla="*/ 6 w 31"/>
                <a:gd name="T17" fmla="*/ 30 h 41"/>
                <a:gd name="T18" fmla="*/ 16 w 31"/>
                <a:gd name="T19" fmla="*/ 34 h 41"/>
                <a:gd name="T20" fmla="*/ 23 w 31"/>
                <a:gd name="T21" fmla="*/ 29 h 41"/>
                <a:gd name="T22" fmla="*/ 16 w 31"/>
                <a:gd name="T23" fmla="*/ 24 h 41"/>
                <a:gd name="T24" fmla="*/ 2 w 31"/>
                <a:gd name="T25" fmla="*/ 12 h 41"/>
                <a:gd name="T26" fmla="*/ 17 w 31"/>
                <a:gd name="T27" fmla="*/ 0 h 41"/>
                <a:gd name="T28" fmla="*/ 30 w 31"/>
                <a:gd name="T2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41">
                  <a:moveTo>
                    <a:pt x="30" y="6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23" y="9"/>
                    <a:pt x="20" y="7"/>
                    <a:pt x="17" y="7"/>
                  </a:cubicBezTo>
                  <a:cubicBezTo>
                    <a:pt x="13" y="7"/>
                    <a:pt x="10" y="9"/>
                    <a:pt x="10" y="11"/>
                  </a:cubicBezTo>
                  <a:cubicBezTo>
                    <a:pt x="10" y="15"/>
                    <a:pt x="13" y="16"/>
                    <a:pt x="18" y="17"/>
                  </a:cubicBezTo>
                  <a:cubicBezTo>
                    <a:pt x="27" y="19"/>
                    <a:pt x="31" y="22"/>
                    <a:pt x="31" y="29"/>
                  </a:cubicBezTo>
                  <a:cubicBezTo>
                    <a:pt x="31" y="37"/>
                    <a:pt x="24" y="41"/>
                    <a:pt x="15" y="41"/>
                  </a:cubicBezTo>
                  <a:cubicBezTo>
                    <a:pt x="8" y="41"/>
                    <a:pt x="4" y="39"/>
                    <a:pt x="0" y="34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9" y="33"/>
                    <a:pt x="12" y="34"/>
                    <a:pt x="16" y="34"/>
                  </a:cubicBezTo>
                  <a:cubicBezTo>
                    <a:pt x="20" y="34"/>
                    <a:pt x="23" y="32"/>
                    <a:pt x="23" y="29"/>
                  </a:cubicBezTo>
                  <a:cubicBezTo>
                    <a:pt x="23" y="26"/>
                    <a:pt x="21" y="25"/>
                    <a:pt x="16" y="24"/>
                  </a:cubicBezTo>
                  <a:cubicBezTo>
                    <a:pt x="7" y="22"/>
                    <a:pt x="2" y="19"/>
                    <a:pt x="2" y="12"/>
                  </a:cubicBezTo>
                  <a:cubicBezTo>
                    <a:pt x="2" y="4"/>
                    <a:pt x="10" y="0"/>
                    <a:pt x="17" y="0"/>
                  </a:cubicBezTo>
                  <a:cubicBezTo>
                    <a:pt x="23" y="0"/>
                    <a:pt x="28" y="2"/>
                    <a:pt x="3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5"/>
            <p:cNvSpPr>
              <a:spLocks noEditPoints="1"/>
            </p:cNvSpPr>
            <p:nvPr userDrawn="1"/>
          </p:nvSpPr>
          <p:spPr bwMode="auto">
            <a:xfrm>
              <a:off x="1766888" y="850900"/>
              <a:ext cx="71437" cy="84138"/>
            </a:xfrm>
            <a:custGeom>
              <a:avLst/>
              <a:gdLst>
                <a:gd name="T0" fmla="*/ 34 w 35"/>
                <a:gd name="T1" fmla="*/ 13 h 41"/>
                <a:gd name="T2" fmla="*/ 34 w 35"/>
                <a:gd name="T3" fmla="*/ 34 h 41"/>
                <a:gd name="T4" fmla="*/ 35 w 35"/>
                <a:gd name="T5" fmla="*/ 40 h 41"/>
                <a:gd name="T6" fmla="*/ 28 w 35"/>
                <a:gd name="T7" fmla="*/ 40 h 41"/>
                <a:gd name="T8" fmla="*/ 28 w 35"/>
                <a:gd name="T9" fmla="*/ 34 h 41"/>
                <a:gd name="T10" fmla="*/ 28 w 35"/>
                <a:gd name="T11" fmla="*/ 34 h 41"/>
                <a:gd name="T12" fmla="*/ 14 w 35"/>
                <a:gd name="T13" fmla="*/ 41 h 41"/>
                <a:gd name="T14" fmla="*/ 0 w 35"/>
                <a:gd name="T15" fmla="*/ 29 h 41"/>
                <a:gd name="T16" fmla="*/ 22 w 35"/>
                <a:gd name="T17" fmla="*/ 16 h 41"/>
                <a:gd name="T18" fmla="*/ 27 w 35"/>
                <a:gd name="T19" fmla="*/ 16 h 41"/>
                <a:gd name="T20" fmla="*/ 27 w 35"/>
                <a:gd name="T21" fmla="*/ 14 h 41"/>
                <a:gd name="T22" fmla="*/ 18 w 35"/>
                <a:gd name="T23" fmla="*/ 6 h 41"/>
                <a:gd name="T24" fmla="*/ 7 w 35"/>
                <a:gd name="T25" fmla="*/ 10 h 41"/>
                <a:gd name="T26" fmla="*/ 2 w 35"/>
                <a:gd name="T27" fmla="*/ 6 h 41"/>
                <a:gd name="T28" fmla="*/ 18 w 35"/>
                <a:gd name="T29" fmla="*/ 0 h 41"/>
                <a:gd name="T30" fmla="*/ 34 w 35"/>
                <a:gd name="T31" fmla="*/ 13 h 41"/>
                <a:gd name="T32" fmla="*/ 16 w 35"/>
                <a:gd name="T33" fmla="*/ 35 h 41"/>
                <a:gd name="T34" fmla="*/ 27 w 35"/>
                <a:gd name="T35" fmla="*/ 23 h 41"/>
                <a:gd name="T36" fmla="*/ 27 w 35"/>
                <a:gd name="T37" fmla="*/ 21 h 41"/>
                <a:gd name="T38" fmla="*/ 23 w 35"/>
                <a:gd name="T39" fmla="*/ 21 h 41"/>
                <a:gd name="T40" fmla="*/ 8 w 35"/>
                <a:gd name="T41" fmla="*/ 29 h 41"/>
                <a:gd name="T42" fmla="*/ 16 w 35"/>
                <a:gd name="T4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41">
                  <a:moveTo>
                    <a:pt x="34" y="13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4" y="38"/>
                    <a:pt x="35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8"/>
                    <a:pt x="28" y="37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4" y="39"/>
                    <a:pt x="20" y="41"/>
                    <a:pt x="14" y="41"/>
                  </a:cubicBezTo>
                  <a:cubicBezTo>
                    <a:pt x="6" y="41"/>
                    <a:pt x="0" y="37"/>
                    <a:pt x="0" y="29"/>
                  </a:cubicBezTo>
                  <a:cubicBezTo>
                    <a:pt x="0" y="22"/>
                    <a:pt x="7" y="16"/>
                    <a:pt x="22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9"/>
                    <a:pt x="24" y="6"/>
                    <a:pt x="18" y="6"/>
                  </a:cubicBezTo>
                  <a:cubicBezTo>
                    <a:pt x="14" y="6"/>
                    <a:pt x="11" y="7"/>
                    <a:pt x="7" y="1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7" y="2"/>
                    <a:pt x="12" y="0"/>
                    <a:pt x="18" y="0"/>
                  </a:cubicBezTo>
                  <a:cubicBezTo>
                    <a:pt x="30" y="0"/>
                    <a:pt x="34" y="7"/>
                    <a:pt x="34" y="13"/>
                  </a:cubicBezTo>
                  <a:close/>
                  <a:moveTo>
                    <a:pt x="16" y="35"/>
                  </a:moveTo>
                  <a:cubicBezTo>
                    <a:pt x="23" y="35"/>
                    <a:pt x="27" y="31"/>
                    <a:pt x="27" y="23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11" y="21"/>
                    <a:pt x="8" y="25"/>
                    <a:pt x="8" y="29"/>
                  </a:cubicBezTo>
                  <a:cubicBezTo>
                    <a:pt x="8" y="33"/>
                    <a:pt x="11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auto">
            <a:xfrm>
              <a:off x="1911350" y="809625"/>
              <a:ext cx="80962" cy="127000"/>
            </a:xfrm>
            <a:custGeom>
              <a:avLst/>
              <a:gdLst>
                <a:gd name="T0" fmla="*/ 39 w 39"/>
                <a:gd name="T1" fmla="*/ 7 h 62"/>
                <a:gd name="T2" fmla="*/ 32 w 39"/>
                <a:gd name="T3" fmla="*/ 13 h 62"/>
                <a:gd name="T4" fmla="*/ 22 w 39"/>
                <a:gd name="T5" fmla="*/ 8 h 62"/>
                <a:gd name="T6" fmla="*/ 10 w 39"/>
                <a:gd name="T7" fmla="*/ 17 h 62"/>
                <a:gd name="T8" fmla="*/ 19 w 39"/>
                <a:gd name="T9" fmla="*/ 26 h 62"/>
                <a:gd name="T10" fmla="*/ 27 w 39"/>
                <a:gd name="T11" fmla="*/ 28 h 62"/>
                <a:gd name="T12" fmla="*/ 39 w 39"/>
                <a:gd name="T13" fmla="*/ 44 h 62"/>
                <a:gd name="T14" fmla="*/ 19 w 39"/>
                <a:gd name="T15" fmla="*/ 62 h 62"/>
                <a:gd name="T16" fmla="*/ 0 w 39"/>
                <a:gd name="T17" fmla="*/ 54 h 62"/>
                <a:gd name="T18" fmla="*/ 7 w 39"/>
                <a:gd name="T19" fmla="*/ 48 h 62"/>
                <a:gd name="T20" fmla="*/ 19 w 39"/>
                <a:gd name="T21" fmla="*/ 54 h 62"/>
                <a:gd name="T22" fmla="*/ 31 w 39"/>
                <a:gd name="T23" fmla="*/ 44 h 62"/>
                <a:gd name="T24" fmla="*/ 21 w 39"/>
                <a:gd name="T25" fmla="*/ 36 h 62"/>
                <a:gd name="T26" fmla="*/ 16 w 39"/>
                <a:gd name="T27" fmla="*/ 34 h 62"/>
                <a:gd name="T28" fmla="*/ 2 w 39"/>
                <a:gd name="T29" fmla="*/ 17 h 62"/>
                <a:gd name="T30" fmla="*/ 22 w 39"/>
                <a:gd name="T31" fmla="*/ 0 h 62"/>
                <a:gd name="T32" fmla="*/ 39 w 39"/>
                <a:gd name="T33" fmla="*/ 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62">
                  <a:moveTo>
                    <a:pt x="39" y="7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0" y="10"/>
                    <a:pt x="26" y="8"/>
                    <a:pt x="22" y="8"/>
                  </a:cubicBezTo>
                  <a:cubicBezTo>
                    <a:pt x="13" y="8"/>
                    <a:pt x="10" y="13"/>
                    <a:pt x="10" y="17"/>
                  </a:cubicBezTo>
                  <a:cubicBezTo>
                    <a:pt x="10" y="22"/>
                    <a:pt x="14" y="24"/>
                    <a:pt x="19" y="26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5" y="31"/>
                    <a:pt x="39" y="35"/>
                    <a:pt x="39" y="44"/>
                  </a:cubicBezTo>
                  <a:cubicBezTo>
                    <a:pt x="39" y="54"/>
                    <a:pt x="31" y="62"/>
                    <a:pt x="19" y="62"/>
                  </a:cubicBezTo>
                  <a:cubicBezTo>
                    <a:pt x="11" y="62"/>
                    <a:pt x="4" y="59"/>
                    <a:pt x="0" y="54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9" y="52"/>
                    <a:pt x="14" y="54"/>
                    <a:pt x="19" y="54"/>
                  </a:cubicBezTo>
                  <a:cubicBezTo>
                    <a:pt x="25" y="54"/>
                    <a:pt x="31" y="51"/>
                    <a:pt x="31" y="44"/>
                  </a:cubicBezTo>
                  <a:cubicBezTo>
                    <a:pt x="31" y="40"/>
                    <a:pt x="28" y="38"/>
                    <a:pt x="21" y="36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8" y="31"/>
                    <a:pt x="2" y="27"/>
                    <a:pt x="2" y="17"/>
                  </a:cubicBezTo>
                  <a:cubicBezTo>
                    <a:pt x="2" y="9"/>
                    <a:pt x="9" y="0"/>
                    <a:pt x="22" y="0"/>
                  </a:cubicBezTo>
                  <a:cubicBezTo>
                    <a:pt x="30" y="0"/>
                    <a:pt x="35" y="3"/>
                    <a:pt x="3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7"/>
            <p:cNvSpPr>
              <a:spLocks noEditPoints="1"/>
            </p:cNvSpPr>
            <p:nvPr userDrawn="1"/>
          </p:nvSpPr>
          <p:spPr bwMode="auto">
            <a:xfrm>
              <a:off x="2012950" y="850900"/>
              <a:ext cx="82550" cy="84138"/>
            </a:xfrm>
            <a:custGeom>
              <a:avLst/>
              <a:gdLst>
                <a:gd name="T0" fmla="*/ 40 w 40"/>
                <a:gd name="T1" fmla="*/ 21 h 41"/>
                <a:gd name="T2" fmla="*/ 40 w 40"/>
                <a:gd name="T3" fmla="*/ 23 h 41"/>
                <a:gd name="T4" fmla="*/ 8 w 40"/>
                <a:gd name="T5" fmla="*/ 23 h 41"/>
                <a:gd name="T6" fmla="*/ 21 w 40"/>
                <a:gd name="T7" fmla="*/ 35 h 41"/>
                <a:gd name="T8" fmla="*/ 32 w 40"/>
                <a:gd name="T9" fmla="*/ 29 h 41"/>
                <a:gd name="T10" fmla="*/ 38 w 40"/>
                <a:gd name="T11" fmla="*/ 33 h 41"/>
                <a:gd name="T12" fmla="*/ 20 w 40"/>
                <a:gd name="T13" fmla="*/ 41 h 41"/>
                <a:gd name="T14" fmla="*/ 0 w 40"/>
                <a:gd name="T15" fmla="*/ 21 h 41"/>
                <a:gd name="T16" fmla="*/ 20 w 40"/>
                <a:gd name="T17" fmla="*/ 0 h 41"/>
                <a:gd name="T18" fmla="*/ 40 w 40"/>
                <a:gd name="T19" fmla="*/ 21 h 41"/>
                <a:gd name="T20" fmla="*/ 32 w 40"/>
                <a:gd name="T21" fmla="*/ 17 h 41"/>
                <a:gd name="T22" fmla="*/ 20 w 40"/>
                <a:gd name="T23" fmla="*/ 6 h 41"/>
                <a:gd name="T24" fmla="*/ 8 w 40"/>
                <a:gd name="T25" fmla="*/ 17 h 41"/>
                <a:gd name="T26" fmla="*/ 32 w 40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40" y="21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5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4" y="39"/>
                    <a:pt x="28" y="41"/>
                    <a:pt x="20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8"/>
                    <a:pt x="40" y="21"/>
                  </a:cubicBezTo>
                  <a:close/>
                  <a:moveTo>
                    <a:pt x="32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auto">
            <a:xfrm>
              <a:off x="2117725" y="850900"/>
              <a:ext cx="47625" cy="82550"/>
            </a:xfrm>
            <a:custGeom>
              <a:avLst/>
              <a:gdLst>
                <a:gd name="T0" fmla="*/ 23 w 23"/>
                <a:gd name="T1" fmla="*/ 1 h 40"/>
                <a:gd name="T2" fmla="*/ 22 w 23"/>
                <a:gd name="T3" fmla="*/ 9 h 40"/>
                <a:gd name="T4" fmla="*/ 19 w 23"/>
                <a:gd name="T5" fmla="*/ 8 h 40"/>
                <a:gd name="T6" fmla="*/ 7 w 23"/>
                <a:gd name="T7" fmla="*/ 20 h 40"/>
                <a:gd name="T8" fmla="*/ 7 w 23"/>
                <a:gd name="T9" fmla="*/ 40 h 40"/>
                <a:gd name="T10" fmla="*/ 0 w 23"/>
                <a:gd name="T11" fmla="*/ 40 h 40"/>
                <a:gd name="T12" fmla="*/ 0 w 23"/>
                <a:gd name="T13" fmla="*/ 1 h 40"/>
                <a:gd name="T14" fmla="*/ 7 w 23"/>
                <a:gd name="T15" fmla="*/ 1 h 40"/>
                <a:gd name="T16" fmla="*/ 7 w 23"/>
                <a:gd name="T17" fmla="*/ 7 h 40"/>
                <a:gd name="T18" fmla="*/ 8 w 23"/>
                <a:gd name="T19" fmla="*/ 7 h 40"/>
                <a:gd name="T20" fmla="*/ 19 w 23"/>
                <a:gd name="T21" fmla="*/ 0 h 40"/>
                <a:gd name="T22" fmla="*/ 23 w 23"/>
                <a:gd name="T2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23" y="1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1" y="8"/>
                    <a:pt x="7" y="12"/>
                    <a:pt x="7" y="2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3"/>
                    <a:pt x="14" y="0"/>
                    <a:pt x="19" y="0"/>
                  </a:cubicBezTo>
                  <a:cubicBezTo>
                    <a:pt x="21" y="0"/>
                    <a:pt x="22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auto">
            <a:xfrm>
              <a:off x="2176463" y="852488"/>
              <a:ext cx="82550" cy="80963"/>
            </a:xfrm>
            <a:custGeom>
              <a:avLst/>
              <a:gdLst>
                <a:gd name="T0" fmla="*/ 12 w 52"/>
                <a:gd name="T1" fmla="*/ 0 h 51"/>
                <a:gd name="T2" fmla="*/ 27 w 52"/>
                <a:gd name="T3" fmla="*/ 39 h 51"/>
                <a:gd name="T4" fmla="*/ 42 w 52"/>
                <a:gd name="T5" fmla="*/ 0 h 51"/>
                <a:gd name="T6" fmla="*/ 52 w 52"/>
                <a:gd name="T7" fmla="*/ 0 h 51"/>
                <a:gd name="T8" fmla="*/ 31 w 52"/>
                <a:gd name="T9" fmla="*/ 51 h 51"/>
                <a:gd name="T10" fmla="*/ 21 w 52"/>
                <a:gd name="T11" fmla="*/ 51 h 51"/>
                <a:gd name="T12" fmla="*/ 0 w 52"/>
                <a:gd name="T13" fmla="*/ 0 h 51"/>
                <a:gd name="T14" fmla="*/ 12 w 52"/>
                <a:gd name="T1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51">
                  <a:moveTo>
                    <a:pt x="12" y="0"/>
                  </a:moveTo>
                  <a:lnTo>
                    <a:pt x="27" y="39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31" y="51"/>
                  </a:lnTo>
                  <a:lnTo>
                    <a:pt x="21" y="51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0"/>
            <p:cNvSpPr>
              <a:spLocks noEditPoints="1"/>
            </p:cNvSpPr>
            <p:nvPr userDrawn="1"/>
          </p:nvSpPr>
          <p:spPr bwMode="auto">
            <a:xfrm>
              <a:off x="2274888" y="812800"/>
              <a:ext cx="23812" cy="120650"/>
            </a:xfrm>
            <a:custGeom>
              <a:avLst/>
              <a:gdLst>
                <a:gd name="T0" fmla="*/ 11 w 11"/>
                <a:gd name="T1" fmla="*/ 5 h 58"/>
                <a:gd name="T2" fmla="*/ 5 w 11"/>
                <a:gd name="T3" fmla="*/ 10 h 58"/>
                <a:gd name="T4" fmla="*/ 0 w 11"/>
                <a:gd name="T5" fmla="*/ 5 h 58"/>
                <a:gd name="T6" fmla="*/ 5 w 11"/>
                <a:gd name="T7" fmla="*/ 0 h 58"/>
                <a:gd name="T8" fmla="*/ 11 w 11"/>
                <a:gd name="T9" fmla="*/ 5 h 58"/>
                <a:gd name="T10" fmla="*/ 9 w 11"/>
                <a:gd name="T11" fmla="*/ 19 h 58"/>
                <a:gd name="T12" fmla="*/ 9 w 11"/>
                <a:gd name="T13" fmla="*/ 58 h 58"/>
                <a:gd name="T14" fmla="*/ 1 w 11"/>
                <a:gd name="T15" fmla="*/ 58 h 58"/>
                <a:gd name="T16" fmla="*/ 1 w 11"/>
                <a:gd name="T17" fmla="*/ 19 h 58"/>
                <a:gd name="T18" fmla="*/ 9 w 11"/>
                <a:gd name="T19" fmla="*/ 1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58">
                  <a:moveTo>
                    <a:pt x="11" y="5"/>
                  </a:moveTo>
                  <a:cubicBezTo>
                    <a:pt x="11" y="8"/>
                    <a:pt x="8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lose/>
                  <a:moveTo>
                    <a:pt x="9" y="19"/>
                  </a:moveTo>
                  <a:cubicBezTo>
                    <a:pt x="9" y="58"/>
                    <a:pt x="9" y="58"/>
                    <a:pt x="9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19"/>
                    <a:pt x="1" y="19"/>
                    <a:pt x="1" y="19"/>
                  </a:cubicBezTo>
                  <a:lnTo>
                    <a:pt x="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auto">
            <a:xfrm>
              <a:off x="2319338" y="850900"/>
              <a:ext cx="74612" cy="84138"/>
            </a:xfrm>
            <a:custGeom>
              <a:avLst/>
              <a:gdLst>
                <a:gd name="T0" fmla="*/ 36 w 36"/>
                <a:gd name="T1" fmla="*/ 6 h 41"/>
                <a:gd name="T2" fmla="*/ 30 w 36"/>
                <a:gd name="T3" fmla="*/ 11 h 41"/>
                <a:gd name="T4" fmla="*/ 20 w 36"/>
                <a:gd name="T5" fmla="*/ 7 h 41"/>
                <a:gd name="T6" fmla="*/ 8 w 36"/>
                <a:gd name="T7" fmla="*/ 21 h 41"/>
                <a:gd name="T8" fmla="*/ 21 w 36"/>
                <a:gd name="T9" fmla="*/ 34 h 41"/>
                <a:gd name="T10" fmla="*/ 30 w 36"/>
                <a:gd name="T11" fmla="*/ 30 h 41"/>
                <a:gd name="T12" fmla="*/ 36 w 36"/>
                <a:gd name="T13" fmla="*/ 35 h 41"/>
                <a:gd name="T14" fmla="*/ 21 w 36"/>
                <a:gd name="T15" fmla="*/ 41 h 41"/>
                <a:gd name="T16" fmla="*/ 0 w 36"/>
                <a:gd name="T17" fmla="*/ 21 h 41"/>
                <a:gd name="T18" fmla="*/ 21 w 36"/>
                <a:gd name="T19" fmla="*/ 0 h 41"/>
                <a:gd name="T20" fmla="*/ 36 w 36"/>
                <a:gd name="T21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41">
                  <a:moveTo>
                    <a:pt x="36" y="6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27" y="9"/>
                    <a:pt x="24" y="7"/>
                    <a:pt x="20" y="7"/>
                  </a:cubicBezTo>
                  <a:cubicBezTo>
                    <a:pt x="13" y="7"/>
                    <a:pt x="8" y="13"/>
                    <a:pt x="8" y="21"/>
                  </a:cubicBezTo>
                  <a:cubicBezTo>
                    <a:pt x="8" y="29"/>
                    <a:pt x="13" y="34"/>
                    <a:pt x="21" y="34"/>
                  </a:cubicBezTo>
                  <a:cubicBezTo>
                    <a:pt x="25" y="34"/>
                    <a:pt x="28" y="33"/>
                    <a:pt x="30" y="30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2" y="40"/>
                    <a:pt x="26" y="41"/>
                    <a:pt x="21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26" y="0"/>
                    <a:pt x="32" y="2"/>
                    <a:pt x="3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2"/>
            <p:cNvSpPr>
              <a:spLocks noEditPoints="1"/>
            </p:cNvSpPr>
            <p:nvPr userDrawn="1"/>
          </p:nvSpPr>
          <p:spPr bwMode="auto">
            <a:xfrm>
              <a:off x="2406650" y="850900"/>
              <a:ext cx="79375" cy="84138"/>
            </a:xfrm>
            <a:custGeom>
              <a:avLst/>
              <a:gdLst>
                <a:gd name="T0" fmla="*/ 39 w 39"/>
                <a:gd name="T1" fmla="*/ 21 h 41"/>
                <a:gd name="T2" fmla="*/ 39 w 39"/>
                <a:gd name="T3" fmla="*/ 23 h 41"/>
                <a:gd name="T4" fmla="*/ 8 w 39"/>
                <a:gd name="T5" fmla="*/ 23 h 41"/>
                <a:gd name="T6" fmla="*/ 21 w 39"/>
                <a:gd name="T7" fmla="*/ 35 h 41"/>
                <a:gd name="T8" fmla="*/ 32 w 39"/>
                <a:gd name="T9" fmla="*/ 29 h 41"/>
                <a:gd name="T10" fmla="*/ 38 w 39"/>
                <a:gd name="T11" fmla="*/ 33 h 41"/>
                <a:gd name="T12" fmla="*/ 20 w 39"/>
                <a:gd name="T13" fmla="*/ 41 h 41"/>
                <a:gd name="T14" fmla="*/ 0 w 39"/>
                <a:gd name="T15" fmla="*/ 21 h 41"/>
                <a:gd name="T16" fmla="*/ 20 w 39"/>
                <a:gd name="T17" fmla="*/ 0 h 41"/>
                <a:gd name="T18" fmla="*/ 39 w 39"/>
                <a:gd name="T19" fmla="*/ 21 h 41"/>
                <a:gd name="T20" fmla="*/ 31 w 39"/>
                <a:gd name="T21" fmla="*/ 17 h 41"/>
                <a:gd name="T22" fmla="*/ 20 w 39"/>
                <a:gd name="T23" fmla="*/ 6 h 41"/>
                <a:gd name="T24" fmla="*/ 8 w 39"/>
                <a:gd name="T25" fmla="*/ 17 h 41"/>
                <a:gd name="T26" fmla="*/ 31 w 39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1">
                  <a:moveTo>
                    <a:pt x="39" y="21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4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3" y="39"/>
                    <a:pt x="28" y="41"/>
                    <a:pt x="20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39" y="8"/>
                    <a:pt x="39" y="21"/>
                  </a:cubicBezTo>
                  <a:close/>
                  <a:moveTo>
                    <a:pt x="31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6875" y="2506664"/>
            <a:ext cx="4261622" cy="650488"/>
          </a:xfrm>
        </p:spPr>
        <p:txBody>
          <a:bodyPr vert="horz" lIns="0" tIns="0" rIns="0" bIns="0" rtlCol="0">
            <a:noAutofit/>
          </a:bodyPr>
          <a:lstStyle>
            <a:lvl1pPr marL="169200" indent="-169200">
              <a:buNone/>
              <a:defRPr lang="en-US" sz="1400" b="0" cap="all" spc="0" baseline="0" smtClean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bg-BG">
                <a:solidFill>
                  <a:schemeClr val="bg1"/>
                </a:solidFill>
              </a:defRPr>
            </a:lvl5pPr>
          </a:lstStyle>
          <a:p>
            <a:pPr marL="0" lvl="0" indent="0"/>
            <a:r>
              <a:rPr lang="en-US" dirty="0"/>
              <a:t>OPTIONAL SUB-HEADLINE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539141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TITLE SLIDE HEADLINE COPY</a:t>
            </a:r>
          </a:p>
        </p:txBody>
      </p:sp>
    </p:spTree>
    <p:extLst>
      <p:ext uri="{BB962C8B-B14F-4D97-AF65-F5344CB8AC3E}">
        <p14:creationId xmlns:p14="http://schemas.microsoft.com/office/powerpoint/2010/main" val="38576490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G -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5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395288" y="1131888"/>
            <a:ext cx="8353425" cy="3341687"/>
          </a:xfrm>
        </p:spPr>
        <p:txBody>
          <a:bodyPr lIns="0" tIns="0" rIns="0" bIns="0"/>
          <a:lstStyle>
            <a:lvl1pPr>
              <a:buClr>
                <a:schemeClr val="accent3"/>
              </a:buClr>
              <a:defRPr sz="1800"/>
            </a:lvl1pPr>
            <a:lvl2pPr>
              <a:buClr>
                <a:schemeClr val="accent3"/>
              </a:buClr>
              <a:defRPr sz="1600"/>
            </a:lvl2pPr>
            <a:lvl3pPr>
              <a:buClr>
                <a:schemeClr val="accent3"/>
              </a:buClr>
              <a:defRPr sz="1400"/>
            </a:lvl3pPr>
            <a:lvl4pPr>
              <a:buClr>
                <a:schemeClr val="accent3"/>
              </a:buClr>
              <a:defRPr sz="12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31FE4DEF-A9DE-4B1F-9121-014C936D5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170" y="633600"/>
            <a:ext cx="8222400" cy="439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200" cap="all" baseline="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50868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G -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8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395288" y="1131888"/>
            <a:ext cx="4104713" cy="3341687"/>
          </a:xfrm>
        </p:spPr>
        <p:txBody>
          <a:bodyPr lIns="0" tIns="0" rIns="0" bIns="0"/>
          <a:lstStyle>
            <a:lvl1pPr>
              <a:buClr>
                <a:schemeClr val="accent3"/>
              </a:buClr>
              <a:defRPr sz="1800"/>
            </a:lvl1pPr>
            <a:lvl2pPr>
              <a:buClr>
                <a:schemeClr val="accent3"/>
              </a:buClr>
              <a:defRPr sz="1600"/>
            </a:lvl2pPr>
            <a:lvl3pPr>
              <a:buClr>
                <a:schemeClr val="accent3"/>
              </a:buClr>
              <a:defRPr sz="1400"/>
            </a:lvl3pPr>
            <a:lvl4pPr>
              <a:buClr>
                <a:schemeClr val="accent3"/>
              </a:buClr>
              <a:defRPr sz="12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Content Placeholder 10"/>
          <p:cNvSpPr>
            <a:spLocks noGrp="1"/>
          </p:cNvSpPr>
          <p:nvPr>
            <p:ph sz="quarter" idx="15" hasCustomPrompt="1"/>
          </p:nvPr>
        </p:nvSpPr>
        <p:spPr>
          <a:xfrm>
            <a:off x="4644001" y="1131888"/>
            <a:ext cx="4104713" cy="3341687"/>
          </a:xfrm>
        </p:spPr>
        <p:txBody>
          <a:bodyPr lIns="0" tIns="0" rIns="0" bIns="0"/>
          <a:lstStyle>
            <a:lvl1pPr>
              <a:buClr>
                <a:schemeClr val="accent3"/>
              </a:buClr>
              <a:defRPr sz="1800"/>
            </a:lvl1pPr>
            <a:lvl2pPr>
              <a:buClr>
                <a:schemeClr val="accent3"/>
              </a:buClr>
              <a:defRPr sz="1600"/>
            </a:lvl2pPr>
            <a:lvl3pPr>
              <a:buClr>
                <a:schemeClr val="accent3"/>
              </a:buClr>
              <a:defRPr sz="1400"/>
            </a:lvl3pPr>
            <a:lvl4pPr>
              <a:buClr>
                <a:schemeClr val="accent3"/>
              </a:buClr>
              <a:defRPr sz="12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1FE4DEF-A9DE-4B1F-9121-014C936D5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170" y="633600"/>
            <a:ext cx="8222400" cy="439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200" cap="all" baseline="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10609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G - 2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6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395288" y="1419888"/>
            <a:ext cx="4104713" cy="3053687"/>
          </a:xfrm>
        </p:spPr>
        <p:txBody>
          <a:bodyPr lIns="0" tIns="0" rIns="0" bIns="0"/>
          <a:lstStyle>
            <a:lvl1pPr>
              <a:buClr>
                <a:schemeClr val="accent3"/>
              </a:buClr>
              <a:defRPr sz="1800"/>
            </a:lvl1pPr>
            <a:lvl2pPr>
              <a:buClr>
                <a:schemeClr val="accent3"/>
              </a:buClr>
              <a:defRPr sz="1600"/>
            </a:lvl2pPr>
            <a:lvl3pPr>
              <a:buClr>
                <a:schemeClr val="accent3"/>
              </a:buClr>
              <a:defRPr sz="1400"/>
            </a:lvl3pPr>
            <a:lvl4pPr>
              <a:buClr>
                <a:schemeClr val="accent3"/>
              </a:buClr>
              <a:defRPr sz="12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131888"/>
            <a:ext cx="4104712" cy="288000"/>
          </a:xfrm>
        </p:spPr>
        <p:txBody>
          <a:bodyPr>
            <a:no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131888"/>
            <a:ext cx="4104712" cy="288000"/>
          </a:xfrm>
        </p:spPr>
        <p:txBody>
          <a:bodyPr>
            <a:no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6" hasCustomPrompt="1"/>
          </p:nvPr>
        </p:nvSpPr>
        <p:spPr>
          <a:xfrm>
            <a:off x="4644001" y="1419888"/>
            <a:ext cx="4104713" cy="3053687"/>
          </a:xfrm>
        </p:spPr>
        <p:txBody>
          <a:bodyPr lIns="0" tIns="0" rIns="0" bIns="0"/>
          <a:lstStyle>
            <a:lvl1pPr>
              <a:buClr>
                <a:schemeClr val="accent3"/>
              </a:buClr>
              <a:defRPr sz="1800"/>
            </a:lvl1pPr>
            <a:lvl2pPr>
              <a:buClr>
                <a:schemeClr val="accent3"/>
              </a:buClr>
              <a:defRPr sz="1600"/>
            </a:lvl2pPr>
            <a:lvl3pPr>
              <a:buClr>
                <a:schemeClr val="accent3"/>
              </a:buClr>
              <a:defRPr sz="1400"/>
            </a:lvl3pPr>
            <a:lvl4pPr>
              <a:buClr>
                <a:schemeClr val="accent3"/>
              </a:buClr>
              <a:defRPr sz="12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31FE4DEF-A9DE-4B1F-9121-014C936D56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8170" y="633600"/>
            <a:ext cx="8222400" cy="439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200" cap="all" baseline="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523221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G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31FE4DEF-A9DE-4B1F-9121-014C936D5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170" y="633600"/>
            <a:ext cx="8222400" cy="439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200" cap="all" baseline="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5943728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G -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9623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5429" y="1958031"/>
            <a:ext cx="3670085" cy="914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6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2976817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5288" y="4960856"/>
            <a:ext cx="3240000" cy="9233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3515497"/>
            <a:ext cx="2844800" cy="95807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Presenter Titl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288" y="345474"/>
            <a:ext cx="2366447" cy="589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539141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TITLE SLIDE HEADLINE COPY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2501900"/>
            <a:ext cx="3114675" cy="911225"/>
          </a:xfrm>
        </p:spPr>
        <p:txBody>
          <a:bodyPr/>
          <a:lstStyle>
            <a:lvl1pPr marL="0" indent="0">
              <a:buNone/>
              <a:defRPr lang="en-US" sz="1400" b="0" kern="1200" cap="all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z="1400" b="0" dirty="0">
                <a:solidFill>
                  <a:srgbClr val="000000"/>
                </a:solidFill>
              </a:rPr>
              <a:t>OPTIONAL SUB-HEADLINE</a:t>
            </a:r>
          </a:p>
        </p:txBody>
      </p:sp>
    </p:spTree>
    <p:extLst>
      <p:ext uri="{BB962C8B-B14F-4D97-AF65-F5344CB8AC3E}">
        <p14:creationId xmlns:p14="http://schemas.microsoft.com/office/powerpoint/2010/main" val="29132323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5288" y="4960856"/>
            <a:ext cx="3240000" cy="9233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288" y="345474"/>
            <a:ext cx="2366447" cy="589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3515497"/>
            <a:ext cx="2844800" cy="95807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Presenter Titl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539141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TITLE SLIDE HEADLINE COPY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2501900"/>
            <a:ext cx="3114675" cy="911225"/>
          </a:xfrm>
        </p:spPr>
        <p:txBody>
          <a:bodyPr/>
          <a:lstStyle>
            <a:lvl1pPr marL="0" indent="0">
              <a:buNone/>
              <a:defRPr lang="en-US" sz="1400" b="0" kern="1200" cap="all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z="1400" b="0" dirty="0">
                <a:solidFill>
                  <a:srgbClr val="000000"/>
                </a:solidFill>
              </a:rPr>
              <a:t>OPTIONAL SUB-HEADLINE</a:t>
            </a:r>
          </a:p>
        </p:txBody>
      </p:sp>
    </p:spTree>
    <p:extLst>
      <p:ext uri="{BB962C8B-B14F-4D97-AF65-F5344CB8AC3E}">
        <p14:creationId xmlns:p14="http://schemas.microsoft.com/office/powerpoint/2010/main" val="1791477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5288" y="4960856"/>
            <a:ext cx="3240000" cy="9233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288" y="345474"/>
            <a:ext cx="2366447" cy="589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3515497"/>
            <a:ext cx="2844800" cy="95807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Presenter Titl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539141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TITLE SLIDE HEADLINE COPY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2501900"/>
            <a:ext cx="3114675" cy="911225"/>
          </a:xfrm>
        </p:spPr>
        <p:txBody>
          <a:bodyPr/>
          <a:lstStyle>
            <a:lvl1pPr marL="0" indent="0">
              <a:buNone/>
              <a:defRPr lang="en-US" sz="1400" b="0" kern="1200" cap="all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z="1400" b="0" dirty="0">
                <a:solidFill>
                  <a:srgbClr val="000000"/>
                </a:solidFill>
              </a:rPr>
              <a:t>OPTIONAL SUB-HEADLINE</a:t>
            </a:r>
          </a:p>
        </p:txBody>
      </p:sp>
    </p:spTree>
    <p:extLst>
      <p:ext uri="{BB962C8B-B14F-4D97-AF65-F5344CB8AC3E}">
        <p14:creationId xmlns:p14="http://schemas.microsoft.com/office/powerpoint/2010/main" val="584631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5288" y="4960856"/>
            <a:ext cx="3240000" cy="923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grpSp>
        <p:nvGrpSpPr>
          <p:cNvPr id="26" name="Group 25"/>
          <p:cNvGrpSpPr/>
          <p:nvPr/>
        </p:nvGrpSpPr>
        <p:grpSpPr>
          <a:xfrm>
            <a:off x="396875" y="346075"/>
            <a:ext cx="2363787" cy="590550"/>
            <a:chOff x="396875" y="346075"/>
            <a:chExt cx="2363787" cy="590550"/>
          </a:xfrm>
          <a:solidFill>
            <a:schemeClr val="bg1"/>
          </a:solidFill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96875" y="346075"/>
              <a:ext cx="2363787" cy="360363"/>
            </a:xfrm>
            <a:custGeom>
              <a:avLst/>
              <a:gdLst>
                <a:gd name="T0" fmla="*/ 1015 w 1141"/>
                <a:gd name="T1" fmla="*/ 164 h 174"/>
                <a:gd name="T2" fmla="*/ 1008 w 1141"/>
                <a:gd name="T3" fmla="*/ 148 h 174"/>
                <a:gd name="T4" fmla="*/ 962 w 1141"/>
                <a:gd name="T5" fmla="*/ 149 h 174"/>
                <a:gd name="T6" fmla="*/ 1019 w 1141"/>
                <a:gd name="T7" fmla="*/ 118 h 174"/>
                <a:gd name="T8" fmla="*/ 828 w 1141"/>
                <a:gd name="T9" fmla="*/ 96 h 174"/>
                <a:gd name="T10" fmla="*/ 737 w 1141"/>
                <a:gd name="T11" fmla="*/ 76 h 174"/>
                <a:gd name="T12" fmla="*/ 743 w 1141"/>
                <a:gd name="T13" fmla="*/ 93 h 174"/>
                <a:gd name="T14" fmla="*/ 794 w 1141"/>
                <a:gd name="T15" fmla="*/ 100 h 174"/>
                <a:gd name="T16" fmla="*/ 779 w 1141"/>
                <a:gd name="T17" fmla="*/ 174 h 174"/>
                <a:gd name="T18" fmla="*/ 198 w 1141"/>
                <a:gd name="T19" fmla="*/ 131 h 174"/>
                <a:gd name="T20" fmla="*/ 171 w 1141"/>
                <a:gd name="T21" fmla="*/ 148 h 174"/>
                <a:gd name="T22" fmla="*/ 165 w 1141"/>
                <a:gd name="T23" fmla="*/ 163 h 174"/>
                <a:gd name="T24" fmla="*/ 246 w 1141"/>
                <a:gd name="T25" fmla="*/ 139 h 174"/>
                <a:gd name="T26" fmla="*/ 214 w 1141"/>
                <a:gd name="T27" fmla="*/ 87 h 174"/>
                <a:gd name="T28" fmla="*/ 243 w 1141"/>
                <a:gd name="T29" fmla="*/ 75 h 174"/>
                <a:gd name="T30" fmla="*/ 165 w 1141"/>
                <a:gd name="T31" fmla="*/ 98 h 174"/>
                <a:gd name="T32" fmla="*/ 41 w 1141"/>
                <a:gd name="T33" fmla="*/ 72 h 174"/>
                <a:gd name="T34" fmla="*/ 66 w 1141"/>
                <a:gd name="T35" fmla="*/ 0 h 174"/>
                <a:gd name="T36" fmla="*/ 794 w 1141"/>
                <a:gd name="T37" fmla="*/ 152 h 174"/>
                <a:gd name="T38" fmla="*/ 794 w 1141"/>
                <a:gd name="T39" fmla="*/ 123 h 174"/>
                <a:gd name="T40" fmla="*/ 954 w 1141"/>
                <a:gd name="T41" fmla="*/ 98 h 174"/>
                <a:gd name="T42" fmla="*/ 987 w 1141"/>
                <a:gd name="T43" fmla="*/ 114 h 174"/>
                <a:gd name="T44" fmla="*/ 653 w 1141"/>
                <a:gd name="T45" fmla="*/ 151 h 174"/>
                <a:gd name="T46" fmla="*/ 619 w 1141"/>
                <a:gd name="T47" fmla="*/ 71 h 174"/>
                <a:gd name="T48" fmla="*/ 590 w 1141"/>
                <a:gd name="T49" fmla="*/ 71 h 174"/>
                <a:gd name="T50" fmla="*/ 502 w 1141"/>
                <a:gd name="T51" fmla="*/ 33 h 174"/>
                <a:gd name="T52" fmla="*/ 471 w 1141"/>
                <a:gd name="T53" fmla="*/ 68 h 174"/>
                <a:gd name="T54" fmla="*/ 437 w 1141"/>
                <a:gd name="T55" fmla="*/ 46 h 174"/>
                <a:gd name="T56" fmla="*/ 452 w 1141"/>
                <a:gd name="T57" fmla="*/ 45 h 174"/>
                <a:gd name="T58" fmla="*/ 426 w 1141"/>
                <a:gd name="T59" fmla="*/ 23 h 174"/>
                <a:gd name="T60" fmla="*/ 373 w 1141"/>
                <a:gd name="T61" fmla="*/ 71 h 174"/>
                <a:gd name="T62" fmla="*/ 391 w 1141"/>
                <a:gd name="T63" fmla="*/ 169 h 174"/>
                <a:gd name="T64" fmla="*/ 425 w 1141"/>
                <a:gd name="T65" fmla="*/ 91 h 174"/>
                <a:gd name="T66" fmla="*/ 533 w 1141"/>
                <a:gd name="T67" fmla="*/ 169 h 174"/>
                <a:gd name="T68" fmla="*/ 531 w 1141"/>
                <a:gd name="T69" fmla="*/ 148 h 174"/>
                <a:gd name="T70" fmla="*/ 505 w 1141"/>
                <a:gd name="T71" fmla="*/ 137 h 174"/>
                <a:gd name="T72" fmla="*/ 573 w 1141"/>
                <a:gd name="T73" fmla="*/ 170 h 174"/>
                <a:gd name="T74" fmla="*/ 715 w 1141"/>
                <a:gd name="T75" fmla="*/ 144 h 174"/>
                <a:gd name="T76" fmla="*/ 682 w 1141"/>
                <a:gd name="T77" fmla="*/ 71 h 174"/>
                <a:gd name="T78" fmla="*/ 908 w 1141"/>
                <a:gd name="T79" fmla="*/ 66 h 174"/>
                <a:gd name="T80" fmla="*/ 852 w 1141"/>
                <a:gd name="T81" fmla="*/ 169 h 174"/>
                <a:gd name="T82" fmla="*/ 886 w 1141"/>
                <a:gd name="T83" fmla="*/ 92 h 174"/>
                <a:gd name="T84" fmla="*/ 313 w 1141"/>
                <a:gd name="T85" fmla="*/ 174 h 174"/>
                <a:gd name="T86" fmla="*/ 296 w 1141"/>
                <a:gd name="T87" fmla="*/ 120 h 174"/>
                <a:gd name="T88" fmla="*/ 296 w 1141"/>
                <a:gd name="T89" fmla="*/ 120 h 174"/>
                <a:gd name="T90" fmla="*/ 1064 w 1141"/>
                <a:gd name="T91" fmla="*/ 92 h 174"/>
                <a:gd name="T92" fmla="*/ 1125 w 1141"/>
                <a:gd name="T93" fmla="*/ 106 h 174"/>
                <a:gd name="T94" fmla="*/ 1138 w 1141"/>
                <a:gd name="T95" fmla="*/ 76 h 174"/>
                <a:gd name="T96" fmla="*/ 1141 w 1141"/>
                <a:gd name="T97" fmla="*/ 71 h 174"/>
                <a:gd name="T98" fmla="*/ 1125 w 1141"/>
                <a:gd name="T99" fmla="*/ 113 h 174"/>
                <a:gd name="T100" fmla="*/ 1141 w 1141"/>
                <a:gd name="T101" fmla="*/ 88 h 174"/>
                <a:gd name="T102" fmla="*/ 1123 w 1141"/>
                <a:gd name="T103" fmla="*/ 94 h 174"/>
                <a:gd name="T104" fmla="*/ 1062 w 1141"/>
                <a:gd name="T105" fmla="*/ 68 h 174"/>
                <a:gd name="T106" fmla="*/ 1048 w 1141"/>
                <a:gd name="T107" fmla="*/ 112 h 174"/>
                <a:gd name="T108" fmla="*/ 1080 w 1141"/>
                <a:gd name="T109" fmla="*/ 99 h 174"/>
                <a:gd name="T110" fmla="*/ 1094 w 1141"/>
                <a:gd name="T111" fmla="*/ 112 h 174"/>
                <a:gd name="T112" fmla="*/ 70 w 1141"/>
                <a:gd name="T113" fmla="*/ 68 h 174"/>
                <a:gd name="T114" fmla="*/ 21 w 1141"/>
                <a:gd name="T115" fmla="*/ 172 h 174"/>
                <a:gd name="T116" fmla="*/ 70 w 1141"/>
                <a:gd name="T117" fmla="*/ 6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1" h="174">
                  <a:moveTo>
                    <a:pt x="919" y="120"/>
                  </a:moveTo>
                  <a:cubicBezTo>
                    <a:pt x="919" y="160"/>
                    <a:pt x="937" y="174"/>
                    <a:pt x="975" y="174"/>
                  </a:cubicBezTo>
                  <a:cubicBezTo>
                    <a:pt x="992" y="174"/>
                    <a:pt x="1006" y="169"/>
                    <a:pt x="1012" y="167"/>
                  </a:cubicBezTo>
                  <a:cubicBezTo>
                    <a:pt x="1014" y="167"/>
                    <a:pt x="1015" y="165"/>
                    <a:pt x="1015" y="164"/>
                  </a:cubicBezTo>
                  <a:cubicBezTo>
                    <a:pt x="1015" y="163"/>
                    <a:pt x="1015" y="163"/>
                    <a:pt x="1015" y="162"/>
                  </a:cubicBezTo>
                  <a:cubicBezTo>
                    <a:pt x="1012" y="151"/>
                    <a:pt x="1012" y="151"/>
                    <a:pt x="1012" y="151"/>
                  </a:cubicBezTo>
                  <a:cubicBezTo>
                    <a:pt x="1012" y="151"/>
                    <a:pt x="1012" y="151"/>
                    <a:pt x="1012" y="151"/>
                  </a:cubicBezTo>
                  <a:cubicBezTo>
                    <a:pt x="1011" y="148"/>
                    <a:pt x="1010" y="148"/>
                    <a:pt x="1008" y="148"/>
                  </a:cubicBezTo>
                  <a:cubicBezTo>
                    <a:pt x="1008" y="148"/>
                    <a:pt x="1007" y="148"/>
                    <a:pt x="1006" y="148"/>
                  </a:cubicBezTo>
                  <a:cubicBezTo>
                    <a:pt x="1006" y="148"/>
                    <a:pt x="1006" y="148"/>
                    <a:pt x="1006" y="148"/>
                  </a:cubicBezTo>
                  <a:cubicBezTo>
                    <a:pt x="1001" y="150"/>
                    <a:pt x="992" y="152"/>
                    <a:pt x="981" y="152"/>
                  </a:cubicBezTo>
                  <a:cubicBezTo>
                    <a:pt x="973" y="152"/>
                    <a:pt x="966" y="151"/>
                    <a:pt x="962" y="149"/>
                  </a:cubicBezTo>
                  <a:cubicBezTo>
                    <a:pt x="957" y="146"/>
                    <a:pt x="954" y="141"/>
                    <a:pt x="954" y="133"/>
                  </a:cubicBezTo>
                  <a:cubicBezTo>
                    <a:pt x="1015" y="133"/>
                    <a:pt x="1015" y="133"/>
                    <a:pt x="1015" y="133"/>
                  </a:cubicBezTo>
                  <a:cubicBezTo>
                    <a:pt x="1019" y="133"/>
                    <a:pt x="1019" y="130"/>
                    <a:pt x="1019" y="127"/>
                  </a:cubicBezTo>
                  <a:cubicBezTo>
                    <a:pt x="1019" y="118"/>
                    <a:pt x="1019" y="118"/>
                    <a:pt x="1019" y="118"/>
                  </a:cubicBezTo>
                  <a:cubicBezTo>
                    <a:pt x="1019" y="100"/>
                    <a:pt x="1016" y="86"/>
                    <a:pt x="1009" y="78"/>
                  </a:cubicBezTo>
                  <a:cubicBezTo>
                    <a:pt x="1001" y="70"/>
                    <a:pt x="988" y="66"/>
                    <a:pt x="970" y="66"/>
                  </a:cubicBezTo>
                  <a:cubicBezTo>
                    <a:pt x="932" y="66"/>
                    <a:pt x="919" y="80"/>
                    <a:pt x="919" y="120"/>
                  </a:cubicBezTo>
                  <a:moveTo>
                    <a:pt x="828" y="96"/>
                  </a:moveTo>
                  <a:cubicBezTo>
                    <a:pt x="828" y="85"/>
                    <a:pt x="824" y="77"/>
                    <a:pt x="815" y="71"/>
                  </a:cubicBezTo>
                  <a:cubicBezTo>
                    <a:pt x="808" y="67"/>
                    <a:pt x="798" y="66"/>
                    <a:pt x="784" y="66"/>
                  </a:cubicBezTo>
                  <a:cubicBezTo>
                    <a:pt x="763" y="66"/>
                    <a:pt x="743" y="71"/>
                    <a:pt x="740" y="73"/>
                  </a:cubicBezTo>
                  <a:cubicBezTo>
                    <a:pt x="738" y="73"/>
                    <a:pt x="737" y="74"/>
                    <a:pt x="737" y="76"/>
                  </a:cubicBezTo>
                  <a:cubicBezTo>
                    <a:pt x="737" y="76"/>
                    <a:pt x="737" y="76"/>
                    <a:pt x="737" y="76"/>
                  </a:cubicBezTo>
                  <a:cubicBezTo>
                    <a:pt x="737" y="76"/>
                    <a:pt x="737" y="77"/>
                    <a:pt x="737" y="77"/>
                  </a:cubicBezTo>
                  <a:cubicBezTo>
                    <a:pt x="741" y="92"/>
                    <a:pt x="741" y="92"/>
                    <a:pt x="741" y="92"/>
                  </a:cubicBezTo>
                  <a:cubicBezTo>
                    <a:pt x="741" y="93"/>
                    <a:pt x="742" y="93"/>
                    <a:pt x="743" y="93"/>
                  </a:cubicBezTo>
                  <a:cubicBezTo>
                    <a:pt x="743" y="93"/>
                    <a:pt x="743" y="93"/>
                    <a:pt x="744" y="93"/>
                  </a:cubicBezTo>
                  <a:cubicBezTo>
                    <a:pt x="748" y="92"/>
                    <a:pt x="764" y="88"/>
                    <a:pt x="776" y="88"/>
                  </a:cubicBezTo>
                  <a:cubicBezTo>
                    <a:pt x="783" y="88"/>
                    <a:pt x="787" y="88"/>
                    <a:pt x="790" y="89"/>
                  </a:cubicBezTo>
                  <a:cubicBezTo>
                    <a:pt x="793" y="91"/>
                    <a:pt x="794" y="94"/>
                    <a:pt x="794" y="100"/>
                  </a:cubicBezTo>
                  <a:cubicBezTo>
                    <a:pt x="794" y="104"/>
                    <a:pt x="794" y="104"/>
                    <a:pt x="794" y="104"/>
                  </a:cubicBezTo>
                  <a:cubicBezTo>
                    <a:pt x="760" y="109"/>
                    <a:pt x="760" y="109"/>
                    <a:pt x="760" y="109"/>
                  </a:cubicBezTo>
                  <a:cubicBezTo>
                    <a:pt x="747" y="111"/>
                    <a:pt x="731" y="115"/>
                    <a:pt x="731" y="140"/>
                  </a:cubicBezTo>
                  <a:cubicBezTo>
                    <a:pt x="731" y="170"/>
                    <a:pt x="755" y="174"/>
                    <a:pt x="779" y="174"/>
                  </a:cubicBezTo>
                  <a:cubicBezTo>
                    <a:pt x="791" y="174"/>
                    <a:pt x="800" y="173"/>
                    <a:pt x="808" y="171"/>
                  </a:cubicBezTo>
                  <a:cubicBezTo>
                    <a:pt x="821" y="168"/>
                    <a:pt x="828" y="166"/>
                    <a:pt x="828" y="151"/>
                  </a:cubicBezTo>
                  <a:lnTo>
                    <a:pt x="828" y="96"/>
                  </a:lnTo>
                  <a:close/>
                  <a:moveTo>
                    <a:pt x="198" y="131"/>
                  </a:moveTo>
                  <a:cubicBezTo>
                    <a:pt x="208" y="133"/>
                    <a:pt x="212" y="134"/>
                    <a:pt x="212" y="142"/>
                  </a:cubicBezTo>
                  <a:cubicBezTo>
                    <a:pt x="212" y="150"/>
                    <a:pt x="205" y="152"/>
                    <a:pt x="198" y="152"/>
                  </a:cubicBezTo>
                  <a:cubicBezTo>
                    <a:pt x="188" y="152"/>
                    <a:pt x="176" y="149"/>
                    <a:pt x="171" y="148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70" y="148"/>
                    <a:pt x="169" y="148"/>
                    <a:pt x="169" y="148"/>
                  </a:cubicBezTo>
                  <a:cubicBezTo>
                    <a:pt x="168" y="148"/>
                    <a:pt x="167" y="148"/>
                    <a:pt x="167" y="150"/>
                  </a:cubicBezTo>
                  <a:cubicBezTo>
                    <a:pt x="165" y="163"/>
                    <a:pt x="165" y="163"/>
                    <a:pt x="165" y="163"/>
                  </a:cubicBezTo>
                  <a:cubicBezTo>
                    <a:pt x="164" y="164"/>
                    <a:pt x="164" y="165"/>
                    <a:pt x="164" y="165"/>
                  </a:cubicBezTo>
                  <a:cubicBezTo>
                    <a:pt x="164" y="167"/>
                    <a:pt x="165" y="167"/>
                    <a:pt x="166" y="168"/>
                  </a:cubicBezTo>
                  <a:cubicBezTo>
                    <a:pt x="170" y="170"/>
                    <a:pt x="186" y="174"/>
                    <a:pt x="203" y="174"/>
                  </a:cubicBezTo>
                  <a:cubicBezTo>
                    <a:pt x="227" y="174"/>
                    <a:pt x="246" y="165"/>
                    <a:pt x="246" y="139"/>
                  </a:cubicBezTo>
                  <a:cubicBezTo>
                    <a:pt x="246" y="115"/>
                    <a:pt x="232" y="110"/>
                    <a:pt x="218" y="108"/>
                  </a:cubicBezTo>
                  <a:cubicBezTo>
                    <a:pt x="215" y="107"/>
                    <a:pt x="215" y="107"/>
                    <a:pt x="215" y="107"/>
                  </a:cubicBezTo>
                  <a:cubicBezTo>
                    <a:pt x="207" y="106"/>
                    <a:pt x="200" y="104"/>
                    <a:pt x="200" y="96"/>
                  </a:cubicBezTo>
                  <a:cubicBezTo>
                    <a:pt x="200" y="88"/>
                    <a:pt x="208" y="87"/>
                    <a:pt x="214" y="87"/>
                  </a:cubicBezTo>
                  <a:cubicBezTo>
                    <a:pt x="222" y="87"/>
                    <a:pt x="230" y="88"/>
                    <a:pt x="234" y="89"/>
                  </a:cubicBezTo>
                  <a:cubicBezTo>
                    <a:pt x="236" y="90"/>
                    <a:pt x="237" y="90"/>
                    <a:pt x="238" y="90"/>
                  </a:cubicBezTo>
                  <a:cubicBezTo>
                    <a:pt x="239" y="90"/>
                    <a:pt x="240" y="89"/>
                    <a:pt x="240" y="88"/>
                  </a:cubicBezTo>
                  <a:cubicBezTo>
                    <a:pt x="241" y="83"/>
                    <a:pt x="242" y="79"/>
                    <a:pt x="243" y="75"/>
                  </a:cubicBezTo>
                  <a:cubicBezTo>
                    <a:pt x="243" y="75"/>
                    <a:pt x="243" y="74"/>
                    <a:pt x="243" y="73"/>
                  </a:cubicBezTo>
                  <a:cubicBezTo>
                    <a:pt x="243" y="71"/>
                    <a:pt x="242" y="70"/>
                    <a:pt x="239" y="69"/>
                  </a:cubicBezTo>
                  <a:cubicBezTo>
                    <a:pt x="234" y="68"/>
                    <a:pt x="222" y="66"/>
                    <a:pt x="209" y="66"/>
                  </a:cubicBezTo>
                  <a:cubicBezTo>
                    <a:pt x="191" y="66"/>
                    <a:pt x="165" y="68"/>
                    <a:pt x="165" y="98"/>
                  </a:cubicBezTo>
                  <a:cubicBezTo>
                    <a:pt x="165" y="124"/>
                    <a:pt x="183" y="128"/>
                    <a:pt x="196" y="131"/>
                  </a:cubicBezTo>
                  <a:lnTo>
                    <a:pt x="198" y="131"/>
                  </a:lnTo>
                  <a:close/>
                  <a:moveTo>
                    <a:pt x="41" y="106"/>
                  </a:moveTo>
                  <a:cubicBezTo>
                    <a:pt x="41" y="72"/>
                    <a:pt x="41" y="72"/>
                    <a:pt x="41" y="72"/>
                  </a:cubicBezTo>
                  <a:cubicBezTo>
                    <a:pt x="41" y="50"/>
                    <a:pt x="50" y="40"/>
                    <a:pt x="70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6" y="0"/>
                    <a:pt x="0" y="29"/>
                    <a:pt x="0" y="69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41" y="106"/>
                  </a:lnTo>
                  <a:close/>
                  <a:moveTo>
                    <a:pt x="794" y="152"/>
                  </a:moveTo>
                  <a:cubicBezTo>
                    <a:pt x="793" y="152"/>
                    <a:pt x="787" y="153"/>
                    <a:pt x="780" y="153"/>
                  </a:cubicBezTo>
                  <a:cubicBezTo>
                    <a:pt x="773" y="153"/>
                    <a:pt x="763" y="152"/>
                    <a:pt x="763" y="139"/>
                  </a:cubicBezTo>
                  <a:cubicBezTo>
                    <a:pt x="763" y="128"/>
                    <a:pt x="769" y="127"/>
                    <a:pt x="776" y="126"/>
                  </a:cubicBezTo>
                  <a:cubicBezTo>
                    <a:pt x="794" y="123"/>
                    <a:pt x="794" y="123"/>
                    <a:pt x="794" y="123"/>
                  </a:cubicBezTo>
                  <a:lnTo>
                    <a:pt x="794" y="152"/>
                  </a:lnTo>
                  <a:close/>
                  <a:moveTo>
                    <a:pt x="953" y="114"/>
                  </a:moveTo>
                  <a:cubicBezTo>
                    <a:pt x="953" y="112"/>
                    <a:pt x="953" y="112"/>
                    <a:pt x="953" y="112"/>
                  </a:cubicBezTo>
                  <a:cubicBezTo>
                    <a:pt x="953" y="109"/>
                    <a:pt x="953" y="103"/>
                    <a:pt x="954" y="98"/>
                  </a:cubicBezTo>
                  <a:cubicBezTo>
                    <a:pt x="956" y="92"/>
                    <a:pt x="959" y="87"/>
                    <a:pt x="970" y="87"/>
                  </a:cubicBezTo>
                  <a:cubicBezTo>
                    <a:pt x="979" y="87"/>
                    <a:pt x="984" y="91"/>
                    <a:pt x="986" y="97"/>
                  </a:cubicBezTo>
                  <a:cubicBezTo>
                    <a:pt x="987" y="101"/>
                    <a:pt x="987" y="107"/>
                    <a:pt x="987" y="111"/>
                  </a:cubicBezTo>
                  <a:cubicBezTo>
                    <a:pt x="987" y="114"/>
                    <a:pt x="987" y="114"/>
                    <a:pt x="987" y="114"/>
                  </a:cubicBezTo>
                  <a:lnTo>
                    <a:pt x="953" y="114"/>
                  </a:lnTo>
                  <a:close/>
                  <a:moveTo>
                    <a:pt x="682" y="139"/>
                  </a:moveTo>
                  <a:cubicBezTo>
                    <a:pt x="682" y="150"/>
                    <a:pt x="675" y="153"/>
                    <a:pt x="667" y="153"/>
                  </a:cubicBezTo>
                  <a:cubicBezTo>
                    <a:pt x="660" y="153"/>
                    <a:pt x="653" y="151"/>
                    <a:pt x="653" y="151"/>
                  </a:cubicBezTo>
                  <a:cubicBezTo>
                    <a:pt x="653" y="71"/>
                    <a:pt x="653" y="71"/>
                    <a:pt x="653" y="71"/>
                  </a:cubicBezTo>
                  <a:cubicBezTo>
                    <a:pt x="653" y="69"/>
                    <a:pt x="652" y="68"/>
                    <a:pt x="650" y="68"/>
                  </a:cubicBezTo>
                  <a:cubicBezTo>
                    <a:pt x="621" y="68"/>
                    <a:pt x="621" y="68"/>
                    <a:pt x="621" y="68"/>
                  </a:cubicBezTo>
                  <a:cubicBezTo>
                    <a:pt x="620" y="68"/>
                    <a:pt x="619" y="69"/>
                    <a:pt x="619" y="71"/>
                  </a:cubicBezTo>
                  <a:cubicBezTo>
                    <a:pt x="619" y="139"/>
                    <a:pt x="619" y="139"/>
                    <a:pt x="619" y="139"/>
                  </a:cubicBezTo>
                  <a:cubicBezTo>
                    <a:pt x="619" y="150"/>
                    <a:pt x="615" y="153"/>
                    <a:pt x="607" y="153"/>
                  </a:cubicBezTo>
                  <a:cubicBezTo>
                    <a:pt x="600" y="153"/>
                    <a:pt x="590" y="151"/>
                    <a:pt x="590" y="151"/>
                  </a:cubicBezTo>
                  <a:cubicBezTo>
                    <a:pt x="590" y="71"/>
                    <a:pt x="590" y="71"/>
                    <a:pt x="590" y="71"/>
                  </a:cubicBezTo>
                  <a:cubicBezTo>
                    <a:pt x="590" y="69"/>
                    <a:pt x="589" y="68"/>
                    <a:pt x="587" y="68"/>
                  </a:cubicBezTo>
                  <a:cubicBezTo>
                    <a:pt x="505" y="68"/>
                    <a:pt x="505" y="68"/>
                    <a:pt x="505" y="68"/>
                  </a:cubicBezTo>
                  <a:cubicBezTo>
                    <a:pt x="505" y="36"/>
                    <a:pt x="505" y="36"/>
                    <a:pt x="505" y="36"/>
                  </a:cubicBezTo>
                  <a:cubicBezTo>
                    <a:pt x="505" y="34"/>
                    <a:pt x="504" y="33"/>
                    <a:pt x="502" y="33"/>
                  </a:cubicBezTo>
                  <a:cubicBezTo>
                    <a:pt x="501" y="33"/>
                    <a:pt x="500" y="33"/>
                    <a:pt x="500" y="33"/>
                  </a:cubicBezTo>
                  <a:cubicBezTo>
                    <a:pt x="475" y="37"/>
                    <a:pt x="475" y="37"/>
                    <a:pt x="475" y="37"/>
                  </a:cubicBezTo>
                  <a:cubicBezTo>
                    <a:pt x="472" y="38"/>
                    <a:pt x="471" y="40"/>
                    <a:pt x="471" y="42"/>
                  </a:cubicBezTo>
                  <a:cubicBezTo>
                    <a:pt x="471" y="68"/>
                    <a:pt x="471" y="68"/>
                    <a:pt x="471" y="68"/>
                  </a:cubicBezTo>
                  <a:cubicBezTo>
                    <a:pt x="425" y="68"/>
                    <a:pt x="425" y="68"/>
                    <a:pt x="425" y="68"/>
                  </a:cubicBezTo>
                  <a:cubicBezTo>
                    <a:pt x="425" y="57"/>
                    <a:pt x="425" y="57"/>
                    <a:pt x="425" y="57"/>
                  </a:cubicBezTo>
                  <a:cubicBezTo>
                    <a:pt x="425" y="53"/>
                    <a:pt x="426" y="50"/>
                    <a:pt x="427" y="49"/>
                  </a:cubicBezTo>
                  <a:cubicBezTo>
                    <a:pt x="430" y="47"/>
                    <a:pt x="432" y="46"/>
                    <a:pt x="437" y="46"/>
                  </a:cubicBezTo>
                  <a:cubicBezTo>
                    <a:pt x="440" y="46"/>
                    <a:pt x="445" y="47"/>
                    <a:pt x="447" y="47"/>
                  </a:cubicBezTo>
                  <a:cubicBezTo>
                    <a:pt x="447" y="47"/>
                    <a:pt x="448" y="47"/>
                    <a:pt x="448" y="47"/>
                  </a:cubicBezTo>
                  <a:cubicBezTo>
                    <a:pt x="449" y="48"/>
                    <a:pt x="450" y="48"/>
                    <a:pt x="451" y="48"/>
                  </a:cubicBezTo>
                  <a:cubicBezTo>
                    <a:pt x="452" y="48"/>
                    <a:pt x="452" y="47"/>
                    <a:pt x="452" y="45"/>
                  </a:cubicBezTo>
                  <a:cubicBezTo>
                    <a:pt x="455" y="31"/>
                    <a:pt x="455" y="31"/>
                    <a:pt x="455" y="31"/>
                  </a:cubicBezTo>
                  <a:cubicBezTo>
                    <a:pt x="455" y="31"/>
                    <a:pt x="455" y="30"/>
                    <a:pt x="455" y="29"/>
                  </a:cubicBezTo>
                  <a:cubicBezTo>
                    <a:pt x="455" y="28"/>
                    <a:pt x="454" y="27"/>
                    <a:pt x="453" y="26"/>
                  </a:cubicBezTo>
                  <a:cubicBezTo>
                    <a:pt x="450" y="26"/>
                    <a:pt x="441" y="23"/>
                    <a:pt x="426" y="23"/>
                  </a:cubicBezTo>
                  <a:cubicBezTo>
                    <a:pt x="402" y="23"/>
                    <a:pt x="391" y="34"/>
                    <a:pt x="391" y="55"/>
                  </a:cubicBezTo>
                  <a:cubicBezTo>
                    <a:pt x="391" y="68"/>
                    <a:pt x="391" y="68"/>
                    <a:pt x="391" y="68"/>
                  </a:cubicBezTo>
                  <a:cubicBezTo>
                    <a:pt x="376" y="68"/>
                    <a:pt x="376" y="68"/>
                    <a:pt x="376" y="68"/>
                  </a:cubicBezTo>
                  <a:cubicBezTo>
                    <a:pt x="374" y="68"/>
                    <a:pt x="373" y="69"/>
                    <a:pt x="373" y="71"/>
                  </a:cubicBezTo>
                  <a:cubicBezTo>
                    <a:pt x="373" y="89"/>
                    <a:pt x="373" y="89"/>
                    <a:pt x="373" y="89"/>
                  </a:cubicBezTo>
                  <a:cubicBezTo>
                    <a:pt x="373" y="90"/>
                    <a:pt x="374" y="91"/>
                    <a:pt x="376" y="91"/>
                  </a:cubicBezTo>
                  <a:cubicBezTo>
                    <a:pt x="391" y="91"/>
                    <a:pt x="391" y="91"/>
                    <a:pt x="391" y="91"/>
                  </a:cubicBezTo>
                  <a:cubicBezTo>
                    <a:pt x="391" y="169"/>
                    <a:pt x="391" y="169"/>
                    <a:pt x="391" y="169"/>
                  </a:cubicBezTo>
                  <a:cubicBezTo>
                    <a:pt x="391" y="170"/>
                    <a:pt x="392" y="171"/>
                    <a:pt x="393" y="171"/>
                  </a:cubicBezTo>
                  <a:cubicBezTo>
                    <a:pt x="422" y="171"/>
                    <a:pt x="422" y="171"/>
                    <a:pt x="422" y="171"/>
                  </a:cubicBezTo>
                  <a:cubicBezTo>
                    <a:pt x="424" y="171"/>
                    <a:pt x="425" y="170"/>
                    <a:pt x="425" y="169"/>
                  </a:cubicBezTo>
                  <a:cubicBezTo>
                    <a:pt x="425" y="91"/>
                    <a:pt x="425" y="91"/>
                    <a:pt x="425" y="91"/>
                  </a:cubicBezTo>
                  <a:cubicBezTo>
                    <a:pt x="471" y="91"/>
                    <a:pt x="471" y="91"/>
                    <a:pt x="471" y="91"/>
                  </a:cubicBezTo>
                  <a:cubicBezTo>
                    <a:pt x="471" y="139"/>
                    <a:pt x="471" y="139"/>
                    <a:pt x="471" y="139"/>
                  </a:cubicBezTo>
                  <a:cubicBezTo>
                    <a:pt x="471" y="164"/>
                    <a:pt x="484" y="173"/>
                    <a:pt x="508" y="173"/>
                  </a:cubicBezTo>
                  <a:cubicBezTo>
                    <a:pt x="522" y="173"/>
                    <a:pt x="531" y="170"/>
                    <a:pt x="533" y="169"/>
                  </a:cubicBezTo>
                  <a:cubicBezTo>
                    <a:pt x="535" y="169"/>
                    <a:pt x="536" y="168"/>
                    <a:pt x="536" y="166"/>
                  </a:cubicBezTo>
                  <a:cubicBezTo>
                    <a:pt x="536" y="165"/>
                    <a:pt x="536" y="164"/>
                    <a:pt x="536" y="164"/>
                  </a:cubicBezTo>
                  <a:cubicBezTo>
                    <a:pt x="533" y="150"/>
                    <a:pt x="533" y="150"/>
                    <a:pt x="533" y="150"/>
                  </a:cubicBezTo>
                  <a:cubicBezTo>
                    <a:pt x="532" y="149"/>
                    <a:pt x="532" y="148"/>
                    <a:pt x="531" y="148"/>
                  </a:cubicBezTo>
                  <a:cubicBezTo>
                    <a:pt x="531" y="148"/>
                    <a:pt x="530" y="148"/>
                    <a:pt x="529" y="148"/>
                  </a:cubicBezTo>
                  <a:cubicBezTo>
                    <a:pt x="529" y="148"/>
                    <a:pt x="529" y="148"/>
                    <a:pt x="528" y="148"/>
                  </a:cubicBezTo>
                  <a:cubicBezTo>
                    <a:pt x="526" y="149"/>
                    <a:pt x="522" y="149"/>
                    <a:pt x="517" y="149"/>
                  </a:cubicBezTo>
                  <a:cubicBezTo>
                    <a:pt x="507" y="149"/>
                    <a:pt x="505" y="144"/>
                    <a:pt x="505" y="137"/>
                  </a:cubicBezTo>
                  <a:cubicBezTo>
                    <a:pt x="505" y="92"/>
                    <a:pt x="505" y="92"/>
                    <a:pt x="505" y="92"/>
                  </a:cubicBezTo>
                  <a:cubicBezTo>
                    <a:pt x="556" y="92"/>
                    <a:pt x="556" y="92"/>
                    <a:pt x="556" y="92"/>
                  </a:cubicBezTo>
                  <a:cubicBezTo>
                    <a:pt x="556" y="159"/>
                    <a:pt x="556" y="159"/>
                    <a:pt x="556" y="159"/>
                  </a:cubicBezTo>
                  <a:cubicBezTo>
                    <a:pt x="556" y="165"/>
                    <a:pt x="562" y="168"/>
                    <a:pt x="573" y="170"/>
                  </a:cubicBezTo>
                  <a:cubicBezTo>
                    <a:pt x="582" y="172"/>
                    <a:pt x="594" y="174"/>
                    <a:pt x="604" y="174"/>
                  </a:cubicBezTo>
                  <a:cubicBezTo>
                    <a:pt x="616" y="174"/>
                    <a:pt x="628" y="172"/>
                    <a:pt x="637" y="165"/>
                  </a:cubicBezTo>
                  <a:cubicBezTo>
                    <a:pt x="649" y="172"/>
                    <a:pt x="662" y="174"/>
                    <a:pt x="675" y="174"/>
                  </a:cubicBezTo>
                  <a:cubicBezTo>
                    <a:pt x="699" y="174"/>
                    <a:pt x="715" y="168"/>
                    <a:pt x="715" y="144"/>
                  </a:cubicBezTo>
                  <a:cubicBezTo>
                    <a:pt x="715" y="71"/>
                    <a:pt x="715" y="71"/>
                    <a:pt x="715" y="71"/>
                  </a:cubicBezTo>
                  <a:cubicBezTo>
                    <a:pt x="715" y="69"/>
                    <a:pt x="714" y="68"/>
                    <a:pt x="713" y="68"/>
                  </a:cubicBezTo>
                  <a:cubicBezTo>
                    <a:pt x="684" y="68"/>
                    <a:pt x="684" y="68"/>
                    <a:pt x="684" y="68"/>
                  </a:cubicBezTo>
                  <a:cubicBezTo>
                    <a:pt x="683" y="68"/>
                    <a:pt x="682" y="69"/>
                    <a:pt x="682" y="71"/>
                  </a:cubicBezTo>
                  <a:lnTo>
                    <a:pt x="682" y="139"/>
                  </a:lnTo>
                  <a:close/>
                  <a:moveTo>
                    <a:pt x="912" y="86"/>
                  </a:moveTo>
                  <a:cubicBezTo>
                    <a:pt x="912" y="70"/>
                    <a:pt x="912" y="70"/>
                    <a:pt x="912" y="70"/>
                  </a:cubicBezTo>
                  <a:cubicBezTo>
                    <a:pt x="912" y="67"/>
                    <a:pt x="911" y="66"/>
                    <a:pt x="908" y="66"/>
                  </a:cubicBezTo>
                  <a:cubicBezTo>
                    <a:pt x="905" y="66"/>
                    <a:pt x="905" y="66"/>
                    <a:pt x="905" y="66"/>
                  </a:cubicBezTo>
                  <a:cubicBezTo>
                    <a:pt x="893" y="66"/>
                    <a:pt x="879" y="67"/>
                    <a:pt x="870" y="69"/>
                  </a:cubicBezTo>
                  <a:cubicBezTo>
                    <a:pt x="858" y="72"/>
                    <a:pt x="852" y="74"/>
                    <a:pt x="852" y="81"/>
                  </a:cubicBezTo>
                  <a:cubicBezTo>
                    <a:pt x="852" y="169"/>
                    <a:pt x="852" y="169"/>
                    <a:pt x="852" y="169"/>
                  </a:cubicBezTo>
                  <a:cubicBezTo>
                    <a:pt x="852" y="170"/>
                    <a:pt x="853" y="171"/>
                    <a:pt x="855" y="171"/>
                  </a:cubicBezTo>
                  <a:cubicBezTo>
                    <a:pt x="884" y="171"/>
                    <a:pt x="884" y="171"/>
                    <a:pt x="884" y="171"/>
                  </a:cubicBezTo>
                  <a:cubicBezTo>
                    <a:pt x="885" y="171"/>
                    <a:pt x="886" y="170"/>
                    <a:pt x="886" y="169"/>
                  </a:cubicBezTo>
                  <a:cubicBezTo>
                    <a:pt x="886" y="92"/>
                    <a:pt x="886" y="92"/>
                    <a:pt x="886" y="92"/>
                  </a:cubicBezTo>
                  <a:cubicBezTo>
                    <a:pt x="888" y="91"/>
                    <a:pt x="897" y="90"/>
                    <a:pt x="909" y="90"/>
                  </a:cubicBezTo>
                  <a:cubicBezTo>
                    <a:pt x="912" y="90"/>
                    <a:pt x="912" y="88"/>
                    <a:pt x="912" y="86"/>
                  </a:cubicBezTo>
                  <a:moveTo>
                    <a:pt x="261" y="120"/>
                  </a:moveTo>
                  <a:cubicBezTo>
                    <a:pt x="261" y="150"/>
                    <a:pt x="268" y="174"/>
                    <a:pt x="313" y="174"/>
                  </a:cubicBezTo>
                  <a:cubicBezTo>
                    <a:pt x="358" y="174"/>
                    <a:pt x="364" y="150"/>
                    <a:pt x="364" y="120"/>
                  </a:cubicBezTo>
                  <a:cubicBezTo>
                    <a:pt x="364" y="89"/>
                    <a:pt x="358" y="66"/>
                    <a:pt x="313" y="66"/>
                  </a:cubicBezTo>
                  <a:cubicBezTo>
                    <a:pt x="268" y="66"/>
                    <a:pt x="261" y="89"/>
                    <a:pt x="261" y="120"/>
                  </a:cubicBezTo>
                  <a:moveTo>
                    <a:pt x="296" y="120"/>
                  </a:moveTo>
                  <a:cubicBezTo>
                    <a:pt x="296" y="97"/>
                    <a:pt x="297" y="88"/>
                    <a:pt x="313" y="88"/>
                  </a:cubicBezTo>
                  <a:cubicBezTo>
                    <a:pt x="328" y="88"/>
                    <a:pt x="329" y="97"/>
                    <a:pt x="329" y="120"/>
                  </a:cubicBezTo>
                  <a:cubicBezTo>
                    <a:pt x="329" y="143"/>
                    <a:pt x="328" y="152"/>
                    <a:pt x="313" y="152"/>
                  </a:cubicBezTo>
                  <a:cubicBezTo>
                    <a:pt x="297" y="152"/>
                    <a:pt x="296" y="143"/>
                    <a:pt x="296" y="120"/>
                  </a:cubicBezTo>
                  <a:moveTo>
                    <a:pt x="1069" y="75"/>
                  </a:moveTo>
                  <a:cubicBezTo>
                    <a:pt x="1073" y="75"/>
                    <a:pt x="1073" y="75"/>
                    <a:pt x="1073" y="75"/>
                  </a:cubicBezTo>
                  <a:cubicBezTo>
                    <a:pt x="1078" y="92"/>
                    <a:pt x="1078" y="92"/>
                    <a:pt x="1078" y="92"/>
                  </a:cubicBezTo>
                  <a:cubicBezTo>
                    <a:pt x="1064" y="92"/>
                    <a:pt x="1064" y="92"/>
                    <a:pt x="1064" y="92"/>
                  </a:cubicBezTo>
                  <a:lnTo>
                    <a:pt x="1069" y="75"/>
                  </a:lnTo>
                  <a:close/>
                  <a:moveTo>
                    <a:pt x="1131" y="95"/>
                  </a:moveTo>
                  <a:cubicBezTo>
                    <a:pt x="1131" y="106"/>
                    <a:pt x="1131" y="106"/>
                    <a:pt x="1131" y="106"/>
                  </a:cubicBezTo>
                  <a:cubicBezTo>
                    <a:pt x="1131" y="106"/>
                    <a:pt x="1128" y="106"/>
                    <a:pt x="1125" y="106"/>
                  </a:cubicBezTo>
                  <a:cubicBezTo>
                    <a:pt x="1117" y="106"/>
                    <a:pt x="1112" y="104"/>
                    <a:pt x="1112" y="91"/>
                  </a:cubicBezTo>
                  <a:cubicBezTo>
                    <a:pt x="1112" y="77"/>
                    <a:pt x="1117" y="75"/>
                    <a:pt x="1126" y="75"/>
                  </a:cubicBezTo>
                  <a:cubicBezTo>
                    <a:pt x="1130" y="75"/>
                    <a:pt x="1134" y="76"/>
                    <a:pt x="1137" y="76"/>
                  </a:cubicBezTo>
                  <a:cubicBezTo>
                    <a:pt x="1137" y="76"/>
                    <a:pt x="1138" y="76"/>
                    <a:pt x="1138" y="76"/>
                  </a:cubicBezTo>
                  <a:cubicBezTo>
                    <a:pt x="1138" y="76"/>
                    <a:pt x="1139" y="76"/>
                    <a:pt x="1139" y="76"/>
                  </a:cubicBezTo>
                  <a:cubicBezTo>
                    <a:pt x="1140" y="76"/>
                    <a:pt x="1140" y="76"/>
                    <a:pt x="1140" y="75"/>
                  </a:cubicBezTo>
                  <a:cubicBezTo>
                    <a:pt x="1141" y="72"/>
                    <a:pt x="1141" y="72"/>
                    <a:pt x="1141" y="72"/>
                  </a:cubicBezTo>
                  <a:cubicBezTo>
                    <a:pt x="1141" y="72"/>
                    <a:pt x="1141" y="71"/>
                    <a:pt x="1141" y="71"/>
                  </a:cubicBezTo>
                  <a:cubicBezTo>
                    <a:pt x="1141" y="70"/>
                    <a:pt x="1140" y="70"/>
                    <a:pt x="1140" y="70"/>
                  </a:cubicBezTo>
                  <a:cubicBezTo>
                    <a:pt x="1139" y="69"/>
                    <a:pt x="1132" y="67"/>
                    <a:pt x="1124" y="67"/>
                  </a:cubicBezTo>
                  <a:cubicBezTo>
                    <a:pt x="1108" y="67"/>
                    <a:pt x="1101" y="73"/>
                    <a:pt x="1101" y="90"/>
                  </a:cubicBezTo>
                  <a:cubicBezTo>
                    <a:pt x="1101" y="107"/>
                    <a:pt x="1107" y="113"/>
                    <a:pt x="1125" y="113"/>
                  </a:cubicBezTo>
                  <a:cubicBezTo>
                    <a:pt x="1129" y="113"/>
                    <a:pt x="1135" y="112"/>
                    <a:pt x="1137" y="112"/>
                  </a:cubicBezTo>
                  <a:cubicBezTo>
                    <a:pt x="1137" y="112"/>
                    <a:pt x="1137" y="112"/>
                    <a:pt x="1137" y="112"/>
                  </a:cubicBezTo>
                  <a:cubicBezTo>
                    <a:pt x="1140" y="111"/>
                    <a:pt x="1141" y="110"/>
                    <a:pt x="1141" y="107"/>
                  </a:cubicBezTo>
                  <a:cubicBezTo>
                    <a:pt x="1141" y="88"/>
                    <a:pt x="1141" y="88"/>
                    <a:pt x="1141" y="88"/>
                  </a:cubicBezTo>
                  <a:cubicBezTo>
                    <a:pt x="1141" y="88"/>
                    <a:pt x="1141" y="88"/>
                    <a:pt x="1140" y="88"/>
                  </a:cubicBezTo>
                  <a:cubicBezTo>
                    <a:pt x="1124" y="88"/>
                    <a:pt x="1124" y="88"/>
                    <a:pt x="1124" y="88"/>
                  </a:cubicBezTo>
                  <a:cubicBezTo>
                    <a:pt x="1123" y="88"/>
                    <a:pt x="1123" y="88"/>
                    <a:pt x="1123" y="88"/>
                  </a:cubicBezTo>
                  <a:cubicBezTo>
                    <a:pt x="1123" y="94"/>
                    <a:pt x="1123" y="94"/>
                    <a:pt x="1123" y="94"/>
                  </a:cubicBezTo>
                  <a:cubicBezTo>
                    <a:pt x="1123" y="94"/>
                    <a:pt x="1123" y="95"/>
                    <a:pt x="1124" y="95"/>
                  </a:cubicBezTo>
                  <a:lnTo>
                    <a:pt x="1131" y="95"/>
                  </a:lnTo>
                  <a:close/>
                  <a:moveTo>
                    <a:pt x="1079" y="68"/>
                  </a:moveTo>
                  <a:cubicBezTo>
                    <a:pt x="1062" y="68"/>
                    <a:pt x="1062" y="68"/>
                    <a:pt x="1062" y="68"/>
                  </a:cubicBezTo>
                  <a:cubicBezTo>
                    <a:pt x="1062" y="68"/>
                    <a:pt x="1062" y="69"/>
                    <a:pt x="1062" y="69"/>
                  </a:cubicBezTo>
                  <a:cubicBezTo>
                    <a:pt x="1047" y="111"/>
                    <a:pt x="1047" y="111"/>
                    <a:pt x="1047" y="111"/>
                  </a:cubicBezTo>
                  <a:cubicBezTo>
                    <a:pt x="1047" y="111"/>
                    <a:pt x="1047" y="112"/>
                    <a:pt x="1047" y="112"/>
                  </a:cubicBezTo>
                  <a:cubicBezTo>
                    <a:pt x="1047" y="112"/>
                    <a:pt x="1047" y="112"/>
                    <a:pt x="1048" y="112"/>
                  </a:cubicBezTo>
                  <a:cubicBezTo>
                    <a:pt x="1058" y="112"/>
                    <a:pt x="1058" y="112"/>
                    <a:pt x="1058" y="112"/>
                  </a:cubicBezTo>
                  <a:cubicBezTo>
                    <a:pt x="1059" y="112"/>
                    <a:pt x="1059" y="112"/>
                    <a:pt x="1059" y="112"/>
                  </a:cubicBezTo>
                  <a:cubicBezTo>
                    <a:pt x="1062" y="99"/>
                    <a:pt x="1062" y="99"/>
                    <a:pt x="1062" y="99"/>
                  </a:cubicBezTo>
                  <a:cubicBezTo>
                    <a:pt x="1080" y="99"/>
                    <a:pt x="1080" y="99"/>
                    <a:pt x="1080" y="99"/>
                  </a:cubicBezTo>
                  <a:cubicBezTo>
                    <a:pt x="1083" y="112"/>
                    <a:pt x="1083" y="112"/>
                    <a:pt x="1083" y="112"/>
                  </a:cubicBezTo>
                  <a:cubicBezTo>
                    <a:pt x="1083" y="112"/>
                    <a:pt x="1083" y="112"/>
                    <a:pt x="1083" y="112"/>
                  </a:cubicBezTo>
                  <a:cubicBezTo>
                    <a:pt x="1093" y="112"/>
                    <a:pt x="1093" y="112"/>
                    <a:pt x="1093" y="112"/>
                  </a:cubicBezTo>
                  <a:cubicBezTo>
                    <a:pt x="1094" y="112"/>
                    <a:pt x="1094" y="112"/>
                    <a:pt x="1094" y="112"/>
                  </a:cubicBezTo>
                  <a:cubicBezTo>
                    <a:pt x="1094" y="112"/>
                    <a:pt x="1094" y="111"/>
                    <a:pt x="1094" y="111"/>
                  </a:cubicBezTo>
                  <a:cubicBezTo>
                    <a:pt x="1080" y="69"/>
                    <a:pt x="1080" y="69"/>
                    <a:pt x="1080" y="69"/>
                  </a:cubicBezTo>
                  <a:cubicBezTo>
                    <a:pt x="1080" y="69"/>
                    <a:pt x="1080" y="68"/>
                    <a:pt x="1079" y="68"/>
                  </a:cubicBezTo>
                  <a:moveTo>
                    <a:pt x="70" y="68"/>
                  </a:moveTo>
                  <a:cubicBezTo>
                    <a:pt x="70" y="98"/>
                    <a:pt x="70" y="98"/>
                    <a:pt x="70" y="98"/>
                  </a:cubicBezTo>
                  <a:cubicBezTo>
                    <a:pt x="70" y="119"/>
                    <a:pt x="61" y="132"/>
                    <a:pt x="41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43" y="172"/>
                    <a:pt x="43" y="172"/>
                    <a:pt x="43" y="172"/>
                  </a:cubicBezTo>
                  <a:cubicBezTo>
                    <a:pt x="81" y="172"/>
                    <a:pt x="111" y="145"/>
                    <a:pt x="111" y="101"/>
                  </a:cubicBezTo>
                  <a:cubicBezTo>
                    <a:pt x="111" y="68"/>
                    <a:pt x="111" y="68"/>
                    <a:pt x="111" y="68"/>
                  </a:cubicBezTo>
                  <a:lnTo>
                    <a:pt x="7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757238" y="812800"/>
              <a:ext cx="77787" cy="120650"/>
            </a:xfrm>
            <a:custGeom>
              <a:avLst/>
              <a:gdLst>
                <a:gd name="T0" fmla="*/ 49 w 49"/>
                <a:gd name="T1" fmla="*/ 0 h 76"/>
                <a:gd name="T2" fmla="*/ 49 w 49"/>
                <a:gd name="T3" fmla="*/ 9 h 76"/>
                <a:gd name="T4" fmla="*/ 11 w 49"/>
                <a:gd name="T5" fmla="*/ 9 h 76"/>
                <a:gd name="T6" fmla="*/ 11 w 49"/>
                <a:gd name="T7" fmla="*/ 33 h 76"/>
                <a:gd name="T8" fmla="*/ 46 w 49"/>
                <a:gd name="T9" fmla="*/ 33 h 76"/>
                <a:gd name="T10" fmla="*/ 46 w 49"/>
                <a:gd name="T11" fmla="*/ 43 h 76"/>
                <a:gd name="T12" fmla="*/ 11 w 49"/>
                <a:gd name="T13" fmla="*/ 43 h 76"/>
                <a:gd name="T14" fmla="*/ 11 w 49"/>
                <a:gd name="T15" fmla="*/ 76 h 76"/>
                <a:gd name="T16" fmla="*/ 0 w 49"/>
                <a:gd name="T17" fmla="*/ 76 h 76"/>
                <a:gd name="T18" fmla="*/ 0 w 49"/>
                <a:gd name="T19" fmla="*/ 0 h 76"/>
                <a:gd name="T20" fmla="*/ 49 w 49"/>
                <a:gd name="T2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76">
                  <a:moveTo>
                    <a:pt x="49" y="0"/>
                  </a:moveTo>
                  <a:lnTo>
                    <a:pt x="49" y="9"/>
                  </a:lnTo>
                  <a:lnTo>
                    <a:pt x="11" y="9"/>
                  </a:lnTo>
                  <a:lnTo>
                    <a:pt x="11" y="33"/>
                  </a:lnTo>
                  <a:lnTo>
                    <a:pt x="46" y="33"/>
                  </a:lnTo>
                  <a:lnTo>
                    <a:pt x="46" y="43"/>
                  </a:lnTo>
                  <a:lnTo>
                    <a:pt x="11" y="43"/>
                  </a:lnTo>
                  <a:lnTo>
                    <a:pt x="11" y="76"/>
                  </a:lnTo>
                  <a:lnTo>
                    <a:pt x="0" y="76"/>
                  </a:lnTo>
                  <a:lnTo>
                    <a:pt x="0" y="0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57250" y="850900"/>
              <a:ext cx="47625" cy="82550"/>
            </a:xfrm>
            <a:custGeom>
              <a:avLst/>
              <a:gdLst>
                <a:gd name="T0" fmla="*/ 23 w 23"/>
                <a:gd name="T1" fmla="*/ 1 h 40"/>
                <a:gd name="T2" fmla="*/ 23 w 23"/>
                <a:gd name="T3" fmla="*/ 9 h 40"/>
                <a:gd name="T4" fmla="*/ 19 w 23"/>
                <a:gd name="T5" fmla="*/ 8 h 40"/>
                <a:gd name="T6" fmla="*/ 8 w 23"/>
                <a:gd name="T7" fmla="*/ 20 h 40"/>
                <a:gd name="T8" fmla="*/ 8 w 23"/>
                <a:gd name="T9" fmla="*/ 40 h 40"/>
                <a:gd name="T10" fmla="*/ 0 w 23"/>
                <a:gd name="T11" fmla="*/ 40 h 40"/>
                <a:gd name="T12" fmla="*/ 0 w 23"/>
                <a:gd name="T13" fmla="*/ 1 h 40"/>
                <a:gd name="T14" fmla="*/ 8 w 23"/>
                <a:gd name="T15" fmla="*/ 1 h 40"/>
                <a:gd name="T16" fmla="*/ 8 w 23"/>
                <a:gd name="T17" fmla="*/ 7 h 40"/>
                <a:gd name="T18" fmla="*/ 8 w 23"/>
                <a:gd name="T19" fmla="*/ 7 h 40"/>
                <a:gd name="T20" fmla="*/ 20 w 23"/>
                <a:gd name="T21" fmla="*/ 0 h 40"/>
                <a:gd name="T22" fmla="*/ 23 w 23"/>
                <a:gd name="T2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23" y="1"/>
                  </a:moveTo>
                  <a:cubicBezTo>
                    <a:pt x="23" y="9"/>
                    <a:pt x="23" y="9"/>
                    <a:pt x="23" y="9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1" y="8"/>
                    <a:pt x="8" y="12"/>
                    <a:pt x="8" y="2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3"/>
                    <a:pt x="15" y="0"/>
                    <a:pt x="20" y="0"/>
                  </a:cubicBezTo>
                  <a:cubicBezTo>
                    <a:pt x="21" y="0"/>
                    <a:pt x="22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917575" y="850900"/>
              <a:ext cx="82550" cy="84138"/>
            </a:xfrm>
            <a:custGeom>
              <a:avLst/>
              <a:gdLst>
                <a:gd name="T0" fmla="*/ 40 w 40"/>
                <a:gd name="T1" fmla="*/ 21 h 41"/>
                <a:gd name="T2" fmla="*/ 40 w 40"/>
                <a:gd name="T3" fmla="*/ 23 h 41"/>
                <a:gd name="T4" fmla="*/ 8 w 40"/>
                <a:gd name="T5" fmla="*/ 23 h 41"/>
                <a:gd name="T6" fmla="*/ 22 w 40"/>
                <a:gd name="T7" fmla="*/ 35 h 41"/>
                <a:gd name="T8" fmla="*/ 32 w 40"/>
                <a:gd name="T9" fmla="*/ 29 h 41"/>
                <a:gd name="T10" fmla="*/ 38 w 40"/>
                <a:gd name="T11" fmla="*/ 33 h 41"/>
                <a:gd name="T12" fmla="*/ 21 w 40"/>
                <a:gd name="T13" fmla="*/ 41 h 41"/>
                <a:gd name="T14" fmla="*/ 0 w 40"/>
                <a:gd name="T15" fmla="*/ 21 h 41"/>
                <a:gd name="T16" fmla="*/ 21 w 40"/>
                <a:gd name="T17" fmla="*/ 0 h 41"/>
                <a:gd name="T18" fmla="*/ 40 w 40"/>
                <a:gd name="T19" fmla="*/ 21 h 41"/>
                <a:gd name="T20" fmla="*/ 32 w 40"/>
                <a:gd name="T21" fmla="*/ 17 h 41"/>
                <a:gd name="T22" fmla="*/ 21 w 40"/>
                <a:gd name="T23" fmla="*/ 6 h 41"/>
                <a:gd name="T24" fmla="*/ 8 w 40"/>
                <a:gd name="T25" fmla="*/ 17 h 41"/>
                <a:gd name="T26" fmla="*/ 32 w 40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40" y="21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5" y="35"/>
                    <a:pt x="22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4" y="39"/>
                    <a:pt x="28" y="41"/>
                    <a:pt x="21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32" y="0"/>
                    <a:pt x="40" y="8"/>
                    <a:pt x="40" y="21"/>
                  </a:cubicBezTo>
                  <a:close/>
                  <a:moveTo>
                    <a:pt x="32" y="17"/>
                  </a:moveTo>
                  <a:cubicBezTo>
                    <a:pt x="32" y="10"/>
                    <a:pt x="27" y="6"/>
                    <a:pt x="21" y="6"/>
                  </a:cubicBezTo>
                  <a:cubicBezTo>
                    <a:pt x="13" y="6"/>
                    <a:pt x="8" y="13"/>
                    <a:pt x="8" y="17"/>
                  </a:cubicBezTo>
                  <a:lnTo>
                    <a:pt x="3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1019175" y="850900"/>
              <a:ext cx="79375" cy="84138"/>
            </a:xfrm>
            <a:custGeom>
              <a:avLst/>
              <a:gdLst>
                <a:gd name="T0" fmla="*/ 39 w 39"/>
                <a:gd name="T1" fmla="*/ 21 h 41"/>
                <a:gd name="T2" fmla="*/ 39 w 39"/>
                <a:gd name="T3" fmla="*/ 23 h 41"/>
                <a:gd name="T4" fmla="*/ 8 w 39"/>
                <a:gd name="T5" fmla="*/ 23 h 41"/>
                <a:gd name="T6" fmla="*/ 21 w 39"/>
                <a:gd name="T7" fmla="*/ 35 h 41"/>
                <a:gd name="T8" fmla="*/ 32 w 39"/>
                <a:gd name="T9" fmla="*/ 29 h 41"/>
                <a:gd name="T10" fmla="*/ 37 w 39"/>
                <a:gd name="T11" fmla="*/ 33 h 41"/>
                <a:gd name="T12" fmla="*/ 20 w 39"/>
                <a:gd name="T13" fmla="*/ 41 h 41"/>
                <a:gd name="T14" fmla="*/ 0 w 39"/>
                <a:gd name="T15" fmla="*/ 21 h 41"/>
                <a:gd name="T16" fmla="*/ 20 w 39"/>
                <a:gd name="T17" fmla="*/ 0 h 41"/>
                <a:gd name="T18" fmla="*/ 39 w 39"/>
                <a:gd name="T19" fmla="*/ 21 h 41"/>
                <a:gd name="T20" fmla="*/ 31 w 39"/>
                <a:gd name="T21" fmla="*/ 17 h 41"/>
                <a:gd name="T22" fmla="*/ 20 w 39"/>
                <a:gd name="T23" fmla="*/ 6 h 41"/>
                <a:gd name="T24" fmla="*/ 8 w 39"/>
                <a:gd name="T25" fmla="*/ 17 h 41"/>
                <a:gd name="T26" fmla="*/ 31 w 39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1">
                  <a:moveTo>
                    <a:pt x="39" y="21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4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3" y="39"/>
                    <a:pt x="28" y="41"/>
                    <a:pt x="20" y="41"/>
                  </a:cubicBezTo>
                  <a:cubicBezTo>
                    <a:pt x="8" y="41"/>
                    <a:pt x="0" y="33"/>
                    <a:pt x="0" y="21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39" y="8"/>
                    <a:pt x="39" y="21"/>
                  </a:cubicBezTo>
                  <a:close/>
                  <a:moveTo>
                    <a:pt x="31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1120775" y="804863"/>
              <a:ext cx="84137" cy="130175"/>
            </a:xfrm>
            <a:custGeom>
              <a:avLst/>
              <a:gdLst>
                <a:gd name="T0" fmla="*/ 41 w 41"/>
                <a:gd name="T1" fmla="*/ 0 h 63"/>
                <a:gd name="T2" fmla="*/ 41 w 41"/>
                <a:gd name="T3" fmla="*/ 62 h 63"/>
                <a:gd name="T4" fmla="*/ 33 w 41"/>
                <a:gd name="T5" fmla="*/ 62 h 63"/>
                <a:gd name="T6" fmla="*/ 33 w 41"/>
                <a:gd name="T7" fmla="*/ 57 h 63"/>
                <a:gd name="T8" fmla="*/ 33 w 41"/>
                <a:gd name="T9" fmla="*/ 57 h 63"/>
                <a:gd name="T10" fmla="*/ 20 w 41"/>
                <a:gd name="T11" fmla="*/ 63 h 63"/>
                <a:gd name="T12" fmla="*/ 0 w 41"/>
                <a:gd name="T13" fmla="*/ 43 h 63"/>
                <a:gd name="T14" fmla="*/ 20 w 41"/>
                <a:gd name="T15" fmla="*/ 22 h 63"/>
                <a:gd name="T16" fmla="*/ 33 w 41"/>
                <a:gd name="T17" fmla="*/ 29 h 63"/>
                <a:gd name="T18" fmla="*/ 33 w 41"/>
                <a:gd name="T19" fmla="*/ 29 h 63"/>
                <a:gd name="T20" fmla="*/ 33 w 41"/>
                <a:gd name="T21" fmla="*/ 0 h 63"/>
                <a:gd name="T22" fmla="*/ 41 w 41"/>
                <a:gd name="T23" fmla="*/ 0 h 63"/>
                <a:gd name="T24" fmla="*/ 21 w 41"/>
                <a:gd name="T25" fmla="*/ 56 h 63"/>
                <a:gd name="T26" fmla="*/ 33 w 41"/>
                <a:gd name="T27" fmla="*/ 43 h 63"/>
                <a:gd name="T28" fmla="*/ 20 w 41"/>
                <a:gd name="T29" fmla="*/ 29 h 63"/>
                <a:gd name="T30" fmla="*/ 8 w 41"/>
                <a:gd name="T31" fmla="*/ 43 h 63"/>
                <a:gd name="T32" fmla="*/ 21 w 41"/>
                <a:gd name="T33" fmla="*/ 5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63">
                  <a:moveTo>
                    <a:pt x="41" y="0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0" y="61"/>
                    <a:pt x="25" y="63"/>
                    <a:pt x="20" y="63"/>
                  </a:cubicBezTo>
                  <a:cubicBezTo>
                    <a:pt x="8" y="63"/>
                    <a:pt x="0" y="55"/>
                    <a:pt x="0" y="43"/>
                  </a:cubicBezTo>
                  <a:cubicBezTo>
                    <a:pt x="0" y="30"/>
                    <a:pt x="8" y="22"/>
                    <a:pt x="20" y="22"/>
                  </a:cubicBezTo>
                  <a:cubicBezTo>
                    <a:pt x="25" y="22"/>
                    <a:pt x="30" y="24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41" y="0"/>
                  </a:lnTo>
                  <a:close/>
                  <a:moveTo>
                    <a:pt x="21" y="56"/>
                  </a:moveTo>
                  <a:cubicBezTo>
                    <a:pt x="28" y="56"/>
                    <a:pt x="33" y="51"/>
                    <a:pt x="33" y="43"/>
                  </a:cubicBezTo>
                  <a:cubicBezTo>
                    <a:pt x="33" y="34"/>
                    <a:pt x="28" y="29"/>
                    <a:pt x="20" y="29"/>
                  </a:cubicBezTo>
                  <a:cubicBezTo>
                    <a:pt x="13" y="29"/>
                    <a:pt x="8" y="34"/>
                    <a:pt x="8" y="43"/>
                  </a:cubicBezTo>
                  <a:cubicBezTo>
                    <a:pt x="8" y="51"/>
                    <a:pt x="13" y="56"/>
                    <a:pt x="21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1230313" y="850900"/>
              <a:ext cx="84137" cy="84138"/>
            </a:xfrm>
            <a:custGeom>
              <a:avLst/>
              <a:gdLst>
                <a:gd name="T0" fmla="*/ 41 w 41"/>
                <a:gd name="T1" fmla="*/ 21 h 41"/>
                <a:gd name="T2" fmla="*/ 20 w 41"/>
                <a:gd name="T3" fmla="*/ 41 h 41"/>
                <a:gd name="T4" fmla="*/ 0 w 41"/>
                <a:gd name="T5" fmla="*/ 21 h 41"/>
                <a:gd name="T6" fmla="*/ 20 w 41"/>
                <a:gd name="T7" fmla="*/ 0 h 41"/>
                <a:gd name="T8" fmla="*/ 41 w 41"/>
                <a:gd name="T9" fmla="*/ 21 h 41"/>
                <a:gd name="T10" fmla="*/ 20 w 41"/>
                <a:gd name="T11" fmla="*/ 34 h 41"/>
                <a:gd name="T12" fmla="*/ 33 w 41"/>
                <a:gd name="T13" fmla="*/ 21 h 41"/>
                <a:gd name="T14" fmla="*/ 20 w 41"/>
                <a:gd name="T15" fmla="*/ 7 h 41"/>
                <a:gd name="T16" fmla="*/ 8 w 41"/>
                <a:gd name="T17" fmla="*/ 21 h 41"/>
                <a:gd name="T18" fmla="*/ 20 w 41"/>
                <a:gd name="T19" fmla="*/ 3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41" y="21"/>
                  </a:moveTo>
                  <a:cubicBezTo>
                    <a:pt x="41" y="32"/>
                    <a:pt x="32" y="41"/>
                    <a:pt x="20" y="41"/>
                  </a:cubicBezTo>
                  <a:cubicBezTo>
                    <a:pt x="9" y="41"/>
                    <a:pt x="0" y="32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1" y="9"/>
                    <a:pt x="41" y="21"/>
                  </a:cubicBezTo>
                  <a:close/>
                  <a:moveTo>
                    <a:pt x="20" y="34"/>
                  </a:moveTo>
                  <a:cubicBezTo>
                    <a:pt x="28" y="34"/>
                    <a:pt x="33" y="29"/>
                    <a:pt x="33" y="21"/>
                  </a:cubicBezTo>
                  <a:cubicBezTo>
                    <a:pt x="33" y="12"/>
                    <a:pt x="28" y="7"/>
                    <a:pt x="20" y="7"/>
                  </a:cubicBezTo>
                  <a:cubicBezTo>
                    <a:pt x="13" y="7"/>
                    <a:pt x="8" y="13"/>
                    <a:pt x="8" y="21"/>
                  </a:cubicBezTo>
                  <a:cubicBezTo>
                    <a:pt x="8" y="29"/>
                    <a:pt x="13" y="34"/>
                    <a:pt x="2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339850" y="850900"/>
              <a:ext cx="122237" cy="82550"/>
            </a:xfrm>
            <a:custGeom>
              <a:avLst/>
              <a:gdLst>
                <a:gd name="T0" fmla="*/ 32 w 59"/>
                <a:gd name="T1" fmla="*/ 7 h 40"/>
                <a:gd name="T2" fmla="*/ 44 w 59"/>
                <a:gd name="T3" fmla="*/ 0 h 40"/>
                <a:gd name="T4" fmla="*/ 59 w 59"/>
                <a:gd name="T5" fmla="*/ 17 h 40"/>
                <a:gd name="T6" fmla="*/ 59 w 59"/>
                <a:gd name="T7" fmla="*/ 40 h 40"/>
                <a:gd name="T8" fmla="*/ 52 w 59"/>
                <a:gd name="T9" fmla="*/ 40 h 40"/>
                <a:gd name="T10" fmla="*/ 52 w 59"/>
                <a:gd name="T11" fmla="*/ 18 h 40"/>
                <a:gd name="T12" fmla="*/ 43 w 59"/>
                <a:gd name="T13" fmla="*/ 7 h 40"/>
                <a:gd name="T14" fmla="*/ 33 w 59"/>
                <a:gd name="T15" fmla="*/ 18 h 40"/>
                <a:gd name="T16" fmla="*/ 33 w 59"/>
                <a:gd name="T17" fmla="*/ 40 h 40"/>
                <a:gd name="T18" fmla="*/ 26 w 59"/>
                <a:gd name="T19" fmla="*/ 40 h 40"/>
                <a:gd name="T20" fmla="*/ 26 w 59"/>
                <a:gd name="T21" fmla="*/ 19 h 40"/>
                <a:gd name="T22" fmla="*/ 18 w 59"/>
                <a:gd name="T23" fmla="*/ 7 h 40"/>
                <a:gd name="T24" fmla="*/ 8 w 59"/>
                <a:gd name="T25" fmla="*/ 20 h 40"/>
                <a:gd name="T26" fmla="*/ 8 w 59"/>
                <a:gd name="T27" fmla="*/ 40 h 40"/>
                <a:gd name="T28" fmla="*/ 0 w 59"/>
                <a:gd name="T29" fmla="*/ 40 h 40"/>
                <a:gd name="T30" fmla="*/ 0 w 59"/>
                <a:gd name="T31" fmla="*/ 1 h 40"/>
                <a:gd name="T32" fmla="*/ 7 w 59"/>
                <a:gd name="T33" fmla="*/ 1 h 40"/>
                <a:gd name="T34" fmla="*/ 7 w 59"/>
                <a:gd name="T35" fmla="*/ 7 h 40"/>
                <a:gd name="T36" fmla="*/ 7 w 59"/>
                <a:gd name="T37" fmla="*/ 7 h 40"/>
                <a:gd name="T38" fmla="*/ 20 w 59"/>
                <a:gd name="T39" fmla="*/ 0 h 40"/>
                <a:gd name="T40" fmla="*/ 32 w 59"/>
                <a:gd name="T41" fmla="*/ 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" h="40">
                  <a:moveTo>
                    <a:pt x="32" y="7"/>
                  </a:moveTo>
                  <a:cubicBezTo>
                    <a:pt x="34" y="3"/>
                    <a:pt x="39" y="0"/>
                    <a:pt x="44" y="0"/>
                  </a:cubicBezTo>
                  <a:cubicBezTo>
                    <a:pt x="54" y="0"/>
                    <a:pt x="59" y="6"/>
                    <a:pt x="59" y="17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0"/>
                    <a:pt x="49" y="7"/>
                    <a:pt x="43" y="7"/>
                  </a:cubicBezTo>
                  <a:cubicBezTo>
                    <a:pt x="37" y="7"/>
                    <a:pt x="33" y="11"/>
                    <a:pt x="33" y="18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0"/>
                    <a:pt x="23" y="7"/>
                    <a:pt x="18" y="7"/>
                  </a:cubicBezTo>
                  <a:cubicBezTo>
                    <a:pt x="12" y="7"/>
                    <a:pt x="8" y="12"/>
                    <a:pt x="8" y="2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9" y="3"/>
                    <a:pt x="14" y="0"/>
                    <a:pt x="20" y="0"/>
                  </a:cubicBezTo>
                  <a:cubicBezTo>
                    <a:pt x="26" y="0"/>
                    <a:pt x="29" y="2"/>
                    <a:pt x="3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538288" y="850900"/>
              <a:ext cx="73025" cy="84138"/>
            </a:xfrm>
            <a:custGeom>
              <a:avLst/>
              <a:gdLst>
                <a:gd name="T0" fmla="*/ 34 w 35"/>
                <a:gd name="T1" fmla="*/ 13 h 41"/>
                <a:gd name="T2" fmla="*/ 34 w 35"/>
                <a:gd name="T3" fmla="*/ 34 h 41"/>
                <a:gd name="T4" fmla="*/ 35 w 35"/>
                <a:gd name="T5" fmla="*/ 40 h 41"/>
                <a:gd name="T6" fmla="*/ 28 w 35"/>
                <a:gd name="T7" fmla="*/ 40 h 41"/>
                <a:gd name="T8" fmla="*/ 28 w 35"/>
                <a:gd name="T9" fmla="*/ 34 h 41"/>
                <a:gd name="T10" fmla="*/ 28 w 35"/>
                <a:gd name="T11" fmla="*/ 34 h 41"/>
                <a:gd name="T12" fmla="*/ 14 w 35"/>
                <a:gd name="T13" fmla="*/ 41 h 41"/>
                <a:gd name="T14" fmla="*/ 0 w 35"/>
                <a:gd name="T15" fmla="*/ 29 h 41"/>
                <a:gd name="T16" fmla="*/ 22 w 35"/>
                <a:gd name="T17" fmla="*/ 16 h 41"/>
                <a:gd name="T18" fmla="*/ 28 w 35"/>
                <a:gd name="T19" fmla="*/ 16 h 41"/>
                <a:gd name="T20" fmla="*/ 28 w 35"/>
                <a:gd name="T21" fmla="*/ 14 h 41"/>
                <a:gd name="T22" fmla="*/ 18 w 35"/>
                <a:gd name="T23" fmla="*/ 6 h 41"/>
                <a:gd name="T24" fmla="*/ 7 w 35"/>
                <a:gd name="T25" fmla="*/ 10 h 41"/>
                <a:gd name="T26" fmla="*/ 3 w 35"/>
                <a:gd name="T27" fmla="*/ 6 h 41"/>
                <a:gd name="T28" fmla="*/ 18 w 35"/>
                <a:gd name="T29" fmla="*/ 0 h 41"/>
                <a:gd name="T30" fmla="*/ 34 w 35"/>
                <a:gd name="T31" fmla="*/ 13 h 41"/>
                <a:gd name="T32" fmla="*/ 16 w 35"/>
                <a:gd name="T33" fmla="*/ 35 h 41"/>
                <a:gd name="T34" fmla="*/ 28 w 35"/>
                <a:gd name="T35" fmla="*/ 23 h 41"/>
                <a:gd name="T36" fmla="*/ 28 w 35"/>
                <a:gd name="T37" fmla="*/ 21 h 41"/>
                <a:gd name="T38" fmla="*/ 23 w 35"/>
                <a:gd name="T39" fmla="*/ 21 h 41"/>
                <a:gd name="T40" fmla="*/ 8 w 35"/>
                <a:gd name="T41" fmla="*/ 29 h 41"/>
                <a:gd name="T42" fmla="*/ 16 w 35"/>
                <a:gd name="T4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41">
                  <a:moveTo>
                    <a:pt x="34" y="13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5" y="38"/>
                    <a:pt x="35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8"/>
                    <a:pt x="28" y="37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4" y="39"/>
                    <a:pt x="20" y="41"/>
                    <a:pt x="14" y="41"/>
                  </a:cubicBezTo>
                  <a:cubicBezTo>
                    <a:pt x="6" y="41"/>
                    <a:pt x="0" y="37"/>
                    <a:pt x="0" y="29"/>
                  </a:cubicBezTo>
                  <a:cubicBezTo>
                    <a:pt x="0" y="22"/>
                    <a:pt x="7" y="16"/>
                    <a:pt x="22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9"/>
                    <a:pt x="24" y="6"/>
                    <a:pt x="18" y="6"/>
                  </a:cubicBezTo>
                  <a:cubicBezTo>
                    <a:pt x="14" y="6"/>
                    <a:pt x="11" y="7"/>
                    <a:pt x="7" y="10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7" y="2"/>
                    <a:pt x="12" y="0"/>
                    <a:pt x="18" y="0"/>
                  </a:cubicBezTo>
                  <a:cubicBezTo>
                    <a:pt x="30" y="0"/>
                    <a:pt x="34" y="7"/>
                    <a:pt x="34" y="13"/>
                  </a:cubicBezTo>
                  <a:close/>
                  <a:moveTo>
                    <a:pt x="16" y="35"/>
                  </a:moveTo>
                  <a:cubicBezTo>
                    <a:pt x="23" y="35"/>
                    <a:pt x="28" y="31"/>
                    <a:pt x="28" y="23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11" y="21"/>
                    <a:pt x="8" y="25"/>
                    <a:pt x="8" y="29"/>
                  </a:cubicBezTo>
                  <a:cubicBezTo>
                    <a:pt x="8" y="33"/>
                    <a:pt x="11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628775" y="850900"/>
              <a:ext cx="65087" cy="84138"/>
            </a:xfrm>
            <a:custGeom>
              <a:avLst/>
              <a:gdLst>
                <a:gd name="T0" fmla="*/ 30 w 31"/>
                <a:gd name="T1" fmla="*/ 6 h 41"/>
                <a:gd name="T2" fmla="*/ 25 w 31"/>
                <a:gd name="T3" fmla="*/ 11 h 41"/>
                <a:gd name="T4" fmla="*/ 17 w 31"/>
                <a:gd name="T5" fmla="*/ 7 h 41"/>
                <a:gd name="T6" fmla="*/ 10 w 31"/>
                <a:gd name="T7" fmla="*/ 11 h 41"/>
                <a:gd name="T8" fmla="*/ 18 w 31"/>
                <a:gd name="T9" fmla="*/ 17 h 41"/>
                <a:gd name="T10" fmla="*/ 31 w 31"/>
                <a:gd name="T11" fmla="*/ 29 h 41"/>
                <a:gd name="T12" fmla="*/ 15 w 31"/>
                <a:gd name="T13" fmla="*/ 41 h 41"/>
                <a:gd name="T14" fmla="*/ 0 w 31"/>
                <a:gd name="T15" fmla="*/ 34 h 41"/>
                <a:gd name="T16" fmla="*/ 6 w 31"/>
                <a:gd name="T17" fmla="*/ 30 h 41"/>
                <a:gd name="T18" fmla="*/ 16 w 31"/>
                <a:gd name="T19" fmla="*/ 34 h 41"/>
                <a:gd name="T20" fmla="*/ 23 w 31"/>
                <a:gd name="T21" fmla="*/ 29 h 41"/>
                <a:gd name="T22" fmla="*/ 16 w 31"/>
                <a:gd name="T23" fmla="*/ 24 h 41"/>
                <a:gd name="T24" fmla="*/ 2 w 31"/>
                <a:gd name="T25" fmla="*/ 12 h 41"/>
                <a:gd name="T26" fmla="*/ 17 w 31"/>
                <a:gd name="T27" fmla="*/ 0 h 41"/>
                <a:gd name="T28" fmla="*/ 30 w 31"/>
                <a:gd name="T2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41">
                  <a:moveTo>
                    <a:pt x="30" y="6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23" y="9"/>
                    <a:pt x="20" y="7"/>
                    <a:pt x="17" y="7"/>
                  </a:cubicBezTo>
                  <a:cubicBezTo>
                    <a:pt x="13" y="7"/>
                    <a:pt x="10" y="9"/>
                    <a:pt x="10" y="11"/>
                  </a:cubicBezTo>
                  <a:cubicBezTo>
                    <a:pt x="10" y="15"/>
                    <a:pt x="13" y="16"/>
                    <a:pt x="18" y="17"/>
                  </a:cubicBezTo>
                  <a:cubicBezTo>
                    <a:pt x="27" y="19"/>
                    <a:pt x="31" y="22"/>
                    <a:pt x="31" y="29"/>
                  </a:cubicBezTo>
                  <a:cubicBezTo>
                    <a:pt x="31" y="37"/>
                    <a:pt x="24" y="41"/>
                    <a:pt x="15" y="41"/>
                  </a:cubicBezTo>
                  <a:cubicBezTo>
                    <a:pt x="8" y="41"/>
                    <a:pt x="4" y="39"/>
                    <a:pt x="0" y="34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9" y="33"/>
                    <a:pt x="12" y="34"/>
                    <a:pt x="16" y="34"/>
                  </a:cubicBezTo>
                  <a:cubicBezTo>
                    <a:pt x="20" y="34"/>
                    <a:pt x="23" y="32"/>
                    <a:pt x="23" y="29"/>
                  </a:cubicBezTo>
                  <a:cubicBezTo>
                    <a:pt x="23" y="26"/>
                    <a:pt x="21" y="25"/>
                    <a:pt x="16" y="24"/>
                  </a:cubicBezTo>
                  <a:cubicBezTo>
                    <a:pt x="7" y="22"/>
                    <a:pt x="2" y="19"/>
                    <a:pt x="2" y="12"/>
                  </a:cubicBezTo>
                  <a:cubicBezTo>
                    <a:pt x="2" y="4"/>
                    <a:pt x="10" y="0"/>
                    <a:pt x="17" y="0"/>
                  </a:cubicBezTo>
                  <a:cubicBezTo>
                    <a:pt x="23" y="0"/>
                    <a:pt x="28" y="2"/>
                    <a:pt x="3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5"/>
            <p:cNvSpPr>
              <a:spLocks noEditPoints="1"/>
            </p:cNvSpPr>
            <p:nvPr/>
          </p:nvSpPr>
          <p:spPr bwMode="auto">
            <a:xfrm>
              <a:off x="1766888" y="850900"/>
              <a:ext cx="71437" cy="84138"/>
            </a:xfrm>
            <a:custGeom>
              <a:avLst/>
              <a:gdLst>
                <a:gd name="T0" fmla="*/ 34 w 35"/>
                <a:gd name="T1" fmla="*/ 13 h 41"/>
                <a:gd name="T2" fmla="*/ 34 w 35"/>
                <a:gd name="T3" fmla="*/ 34 h 41"/>
                <a:gd name="T4" fmla="*/ 35 w 35"/>
                <a:gd name="T5" fmla="*/ 40 h 41"/>
                <a:gd name="T6" fmla="*/ 28 w 35"/>
                <a:gd name="T7" fmla="*/ 40 h 41"/>
                <a:gd name="T8" fmla="*/ 28 w 35"/>
                <a:gd name="T9" fmla="*/ 34 h 41"/>
                <a:gd name="T10" fmla="*/ 28 w 35"/>
                <a:gd name="T11" fmla="*/ 34 h 41"/>
                <a:gd name="T12" fmla="*/ 14 w 35"/>
                <a:gd name="T13" fmla="*/ 41 h 41"/>
                <a:gd name="T14" fmla="*/ 0 w 35"/>
                <a:gd name="T15" fmla="*/ 29 h 41"/>
                <a:gd name="T16" fmla="*/ 22 w 35"/>
                <a:gd name="T17" fmla="*/ 16 h 41"/>
                <a:gd name="T18" fmla="*/ 27 w 35"/>
                <a:gd name="T19" fmla="*/ 16 h 41"/>
                <a:gd name="T20" fmla="*/ 27 w 35"/>
                <a:gd name="T21" fmla="*/ 14 h 41"/>
                <a:gd name="T22" fmla="*/ 18 w 35"/>
                <a:gd name="T23" fmla="*/ 6 h 41"/>
                <a:gd name="T24" fmla="*/ 7 w 35"/>
                <a:gd name="T25" fmla="*/ 10 h 41"/>
                <a:gd name="T26" fmla="*/ 2 w 35"/>
                <a:gd name="T27" fmla="*/ 6 h 41"/>
                <a:gd name="T28" fmla="*/ 18 w 35"/>
                <a:gd name="T29" fmla="*/ 0 h 41"/>
                <a:gd name="T30" fmla="*/ 34 w 35"/>
                <a:gd name="T31" fmla="*/ 13 h 41"/>
                <a:gd name="T32" fmla="*/ 16 w 35"/>
                <a:gd name="T33" fmla="*/ 35 h 41"/>
                <a:gd name="T34" fmla="*/ 27 w 35"/>
                <a:gd name="T35" fmla="*/ 23 h 41"/>
                <a:gd name="T36" fmla="*/ 27 w 35"/>
                <a:gd name="T37" fmla="*/ 21 h 41"/>
                <a:gd name="T38" fmla="*/ 23 w 35"/>
                <a:gd name="T39" fmla="*/ 21 h 41"/>
                <a:gd name="T40" fmla="*/ 8 w 35"/>
                <a:gd name="T41" fmla="*/ 29 h 41"/>
                <a:gd name="T42" fmla="*/ 16 w 35"/>
                <a:gd name="T4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41">
                  <a:moveTo>
                    <a:pt x="34" y="13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4" y="38"/>
                    <a:pt x="35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8"/>
                    <a:pt x="28" y="37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4" y="39"/>
                    <a:pt x="20" y="41"/>
                    <a:pt x="14" y="41"/>
                  </a:cubicBezTo>
                  <a:cubicBezTo>
                    <a:pt x="6" y="41"/>
                    <a:pt x="0" y="37"/>
                    <a:pt x="0" y="29"/>
                  </a:cubicBezTo>
                  <a:cubicBezTo>
                    <a:pt x="0" y="22"/>
                    <a:pt x="7" y="16"/>
                    <a:pt x="22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9"/>
                    <a:pt x="24" y="6"/>
                    <a:pt x="18" y="6"/>
                  </a:cubicBezTo>
                  <a:cubicBezTo>
                    <a:pt x="14" y="6"/>
                    <a:pt x="11" y="7"/>
                    <a:pt x="7" y="1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7" y="2"/>
                    <a:pt x="12" y="0"/>
                    <a:pt x="18" y="0"/>
                  </a:cubicBezTo>
                  <a:cubicBezTo>
                    <a:pt x="30" y="0"/>
                    <a:pt x="34" y="7"/>
                    <a:pt x="34" y="13"/>
                  </a:cubicBezTo>
                  <a:close/>
                  <a:moveTo>
                    <a:pt x="16" y="35"/>
                  </a:moveTo>
                  <a:cubicBezTo>
                    <a:pt x="23" y="35"/>
                    <a:pt x="27" y="31"/>
                    <a:pt x="27" y="23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11" y="21"/>
                    <a:pt x="8" y="25"/>
                    <a:pt x="8" y="29"/>
                  </a:cubicBezTo>
                  <a:cubicBezTo>
                    <a:pt x="8" y="33"/>
                    <a:pt x="11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911350" y="809625"/>
              <a:ext cx="80962" cy="127000"/>
            </a:xfrm>
            <a:custGeom>
              <a:avLst/>
              <a:gdLst>
                <a:gd name="T0" fmla="*/ 39 w 39"/>
                <a:gd name="T1" fmla="*/ 7 h 62"/>
                <a:gd name="T2" fmla="*/ 32 w 39"/>
                <a:gd name="T3" fmla="*/ 13 h 62"/>
                <a:gd name="T4" fmla="*/ 22 w 39"/>
                <a:gd name="T5" fmla="*/ 8 h 62"/>
                <a:gd name="T6" fmla="*/ 10 w 39"/>
                <a:gd name="T7" fmla="*/ 17 h 62"/>
                <a:gd name="T8" fmla="*/ 19 w 39"/>
                <a:gd name="T9" fmla="*/ 26 h 62"/>
                <a:gd name="T10" fmla="*/ 27 w 39"/>
                <a:gd name="T11" fmla="*/ 28 h 62"/>
                <a:gd name="T12" fmla="*/ 39 w 39"/>
                <a:gd name="T13" fmla="*/ 44 h 62"/>
                <a:gd name="T14" fmla="*/ 19 w 39"/>
                <a:gd name="T15" fmla="*/ 62 h 62"/>
                <a:gd name="T16" fmla="*/ 0 w 39"/>
                <a:gd name="T17" fmla="*/ 54 h 62"/>
                <a:gd name="T18" fmla="*/ 7 w 39"/>
                <a:gd name="T19" fmla="*/ 48 h 62"/>
                <a:gd name="T20" fmla="*/ 19 w 39"/>
                <a:gd name="T21" fmla="*/ 54 h 62"/>
                <a:gd name="T22" fmla="*/ 31 w 39"/>
                <a:gd name="T23" fmla="*/ 44 h 62"/>
                <a:gd name="T24" fmla="*/ 21 w 39"/>
                <a:gd name="T25" fmla="*/ 36 h 62"/>
                <a:gd name="T26" fmla="*/ 16 w 39"/>
                <a:gd name="T27" fmla="*/ 34 h 62"/>
                <a:gd name="T28" fmla="*/ 2 w 39"/>
                <a:gd name="T29" fmla="*/ 17 h 62"/>
                <a:gd name="T30" fmla="*/ 22 w 39"/>
                <a:gd name="T31" fmla="*/ 0 h 62"/>
                <a:gd name="T32" fmla="*/ 39 w 39"/>
                <a:gd name="T33" fmla="*/ 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62">
                  <a:moveTo>
                    <a:pt x="39" y="7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0" y="10"/>
                    <a:pt x="26" y="8"/>
                    <a:pt x="22" y="8"/>
                  </a:cubicBezTo>
                  <a:cubicBezTo>
                    <a:pt x="13" y="8"/>
                    <a:pt x="10" y="13"/>
                    <a:pt x="10" y="17"/>
                  </a:cubicBezTo>
                  <a:cubicBezTo>
                    <a:pt x="10" y="22"/>
                    <a:pt x="14" y="24"/>
                    <a:pt x="19" y="26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5" y="31"/>
                    <a:pt x="39" y="35"/>
                    <a:pt x="39" y="44"/>
                  </a:cubicBezTo>
                  <a:cubicBezTo>
                    <a:pt x="39" y="54"/>
                    <a:pt x="31" y="62"/>
                    <a:pt x="19" y="62"/>
                  </a:cubicBezTo>
                  <a:cubicBezTo>
                    <a:pt x="11" y="62"/>
                    <a:pt x="4" y="59"/>
                    <a:pt x="0" y="54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9" y="52"/>
                    <a:pt x="14" y="54"/>
                    <a:pt x="19" y="54"/>
                  </a:cubicBezTo>
                  <a:cubicBezTo>
                    <a:pt x="25" y="54"/>
                    <a:pt x="31" y="51"/>
                    <a:pt x="31" y="44"/>
                  </a:cubicBezTo>
                  <a:cubicBezTo>
                    <a:pt x="31" y="40"/>
                    <a:pt x="28" y="38"/>
                    <a:pt x="21" y="36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8" y="31"/>
                    <a:pt x="2" y="27"/>
                    <a:pt x="2" y="17"/>
                  </a:cubicBezTo>
                  <a:cubicBezTo>
                    <a:pt x="2" y="9"/>
                    <a:pt x="9" y="0"/>
                    <a:pt x="22" y="0"/>
                  </a:cubicBezTo>
                  <a:cubicBezTo>
                    <a:pt x="30" y="0"/>
                    <a:pt x="35" y="3"/>
                    <a:pt x="3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7"/>
            <p:cNvSpPr>
              <a:spLocks noEditPoints="1"/>
            </p:cNvSpPr>
            <p:nvPr/>
          </p:nvSpPr>
          <p:spPr bwMode="auto">
            <a:xfrm>
              <a:off x="2012950" y="850900"/>
              <a:ext cx="82550" cy="84138"/>
            </a:xfrm>
            <a:custGeom>
              <a:avLst/>
              <a:gdLst>
                <a:gd name="T0" fmla="*/ 40 w 40"/>
                <a:gd name="T1" fmla="*/ 21 h 41"/>
                <a:gd name="T2" fmla="*/ 40 w 40"/>
                <a:gd name="T3" fmla="*/ 23 h 41"/>
                <a:gd name="T4" fmla="*/ 8 w 40"/>
                <a:gd name="T5" fmla="*/ 23 h 41"/>
                <a:gd name="T6" fmla="*/ 21 w 40"/>
                <a:gd name="T7" fmla="*/ 35 h 41"/>
                <a:gd name="T8" fmla="*/ 32 w 40"/>
                <a:gd name="T9" fmla="*/ 29 h 41"/>
                <a:gd name="T10" fmla="*/ 38 w 40"/>
                <a:gd name="T11" fmla="*/ 33 h 41"/>
                <a:gd name="T12" fmla="*/ 20 w 40"/>
                <a:gd name="T13" fmla="*/ 41 h 41"/>
                <a:gd name="T14" fmla="*/ 0 w 40"/>
                <a:gd name="T15" fmla="*/ 21 h 41"/>
                <a:gd name="T16" fmla="*/ 20 w 40"/>
                <a:gd name="T17" fmla="*/ 0 h 41"/>
                <a:gd name="T18" fmla="*/ 40 w 40"/>
                <a:gd name="T19" fmla="*/ 21 h 41"/>
                <a:gd name="T20" fmla="*/ 32 w 40"/>
                <a:gd name="T21" fmla="*/ 17 h 41"/>
                <a:gd name="T22" fmla="*/ 20 w 40"/>
                <a:gd name="T23" fmla="*/ 6 h 41"/>
                <a:gd name="T24" fmla="*/ 8 w 40"/>
                <a:gd name="T25" fmla="*/ 17 h 41"/>
                <a:gd name="T26" fmla="*/ 32 w 40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40" y="21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5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4" y="39"/>
                    <a:pt x="28" y="41"/>
                    <a:pt x="20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8"/>
                    <a:pt x="40" y="21"/>
                  </a:cubicBezTo>
                  <a:close/>
                  <a:moveTo>
                    <a:pt x="32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2117725" y="850900"/>
              <a:ext cx="47625" cy="82550"/>
            </a:xfrm>
            <a:custGeom>
              <a:avLst/>
              <a:gdLst>
                <a:gd name="T0" fmla="*/ 23 w 23"/>
                <a:gd name="T1" fmla="*/ 1 h 40"/>
                <a:gd name="T2" fmla="*/ 22 w 23"/>
                <a:gd name="T3" fmla="*/ 9 h 40"/>
                <a:gd name="T4" fmla="*/ 19 w 23"/>
                <a:gd name="T5" fmla="*/ 8 h 40"/>
                <a:gd name="T6" fmla="*/ 7 w 23"/>
                <a:gd name="T7" fmla="*/ 20 h 40"/>
                <a:gd name="T8" fmla="*/ 7 w 23"/>
                <a:gd name="T9" fmla="*/ 40 h 40"/>
                <a:gd name="T10" fmla="*/ 0 w 23"/>
                <a:gd name="T11" fmla="*/ 40 h 40"/>
                <a:gd name="T12" fmla="*/ 0 w 23"/>
                <a:gd name="T13" fmla="*/ 1 h 40"/>
                <a:gd name="T14" fmla="*/ 7 w 23"/>
                <a:gd name="T15" fmla="*/ 1 h 40"/>
                <a:gd name="T16" fmla="*/ 7 w 23"/>
                <a:gd name="T17" fmla="*/ 7 h 40"/>
                <a:gd name="T18" fmla="*/ 8 w 23"/>
                <a:gd name="T19" fmla="*/ 7 h 40"/>
                <a:gd name="T20" fmla="*/ 19 w 23"/>
                <a:gd name="T21" fmla="*/ 0 h 40"/>
                <a:gd name="T22" fmla="*/ 23 w 23"/>
                <a:gd name="T2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23" y="1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1" y="8"/>
                    <a:pt x="7" y="12"/>
                    <a:pt x="7" y="2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3"/>
                    <a:pt x="14" y="0"/>
                    <a:pt x="19" y="0"/>
                  </a:cubicBezTo>
                  <a:cubicBezTo>
                    <a:pt x="21" y="0"/>
                    <a:pt x="22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2176463" y="852488"/>
              <a:ext cx="82550" cy="80963"/>
            </a:xfrm>
            <a:custGeom>
              <a:avLst/>
              <a:gdLst>
                <a:gd name="T0" fmla="*/ 12 w 52"/>
                <a:gd name="T1" fmla="*/ 0 h 51"/>
                <a:gd name="T2" fmla="*/ 27 w 52"/>
                <a:gd name="T3" fmla="*/ 39 h 51"/>
                <a:gd name="T4" fmla="*/ 42 w 52"/>
                <a:gd name="T5" fmla="*/ 0 h 51"/>
                <a:gd name="T6" fmla="*/ 52 w 52"/>
                <a:gd name="T7" fmla="*/ 0 h 51"/>
                <a:gd name="T8" fmla="*/ 31 w 52"/>
                <a:gd name="T9" fmla="*/ 51 h 51"/>
                <a:gd name="T10" fmla="*/ 21 w 52"/>
                <a:gd name="T11" fmla="*/ 51 h 51"/>
                <a:gd name="T12" fmla="*/ 0 w 52"/>
                <a:gd name="T13" fmla="*/ 0 h 51"/>
                <a:gd name="T14" fmla="*/ 12 w 52"/>
                <a:gd name="T1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51">
                  <a:moveTo>
                    <a:pt x="12" y="0"/>
                  </a:moveTo>
                  <a:lnTo>
                    <a:pt x="27" y="39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31" y="51"/>
                  </a:lnTo>
                  <a:lnTo>
                    <a:pt x="21" y="51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 noEditPoints="1"/>
            </p:cNvSpPr>
            <p:nvPr/>
          </p:nvSpPr>
          <p:spPr bwMode="auto">
            <a:xfrm>
              <a:off x="2274888" y="812800"/>
              <a:ext cx="23812" cy="120650"/>
            </a:xfrm>
            <a:custGeom>
              <a:avLst/>
              <a:gdLst>
                <a:gd name="T0" fmla="*/ 11 w 11"/>
                <a:gd name="T1" fmla="*/ 5 h 58"/>
                <a:gd name="T2" fmla="*/ 5 w 11"/>
                <a:gd name="T3" fmla="*/ 10 h 58"/>
                <a:gd name="T4" fmla="*/ 0 w 11"/>
                <a:gd name="T5" fmla="*/ 5 h 58"/>
                <a:gd name="T6" fmla="*/ 5 w 11"/>
                <a:gd name="T7" fmla="*/ 0 h 58"/>
                <a:gd name="T8" fmla="*/ 11 w 11"/>
                <a:gd name="T9" fmla="*/ 5 h 58"/>
                <a:gd name="T10" fmla="*/ 9 w 11"/>
                <a:gd name="T11" fmla="*/ 19 h 58"/>
                <a:gd name="T12" fmla="*/ 9 w 11"/>
                <a:gd name="T13" fmla="*/ 58 h 58"/>
                <a:gd name="T14" fmla="*/ 1 w 11"/>
                <a:gd name="T15" fmla="*/ 58 h 58"/>
                <a:gd name="T16" fmla="*/ 1 w 11"/>
                <a:gd name="T17" fmla="*/ 19 h 58"/>
                <a:gd name="T18" fmla="*/ 9 w 11"/>
                <a:gd name="T19" fmla="*/ 1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58">
                  <a:moveTo>
                    <a:pt x="11" y="5"/>
                  </a:moveTo>
                  <a:cubicBezTo>
                    <a:pt x="11" y="8"/>
                    <a:pt x="8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lose/>
                  <a:moveTo>
                    <a:pt x="9" y="19"/>
                  </a:moveTo>
                  <a:cubicBezTo>
                    <a:pt x="9" y="58"/>
                    <a:pt x="9" y="58"/>
                    <a:pt x="9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19"/>
                    <a:pt x="1" y="19"/>
                    <a:pt x="1" y="19"/>
                  </a:cubicBezTo>
                  <a:lnTo>
                    <a:pt x="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2319338" y="850900"/>
              <a:ext cx="74612" cy="84138"/>
            </a:xfrm>
            <a:custGeom>
              <a:avLst/>
              <a:gdLst>
                <a:gd name="T0" fmla="*/ 36 w 36"/>
                <a:gd name="T1" fmla="*/ 6 h 41"/>
                <a:gd name="T2" fmla="*/ 30 w 36"/>
                <a:gd name="T3" fmla="*/ 11 h 41"/>
                <a:gd name="T4" fmla="*/ 20 w 36"/>
                <a:gd name="T5" fmla="*/ 7 h 41"/>
                <a:gd name="T6" fmla="*/ 8 w 36"/>
                <a:gd name="T7" fmla="*/ 21 h 41"/>
                <a:gd name="T8" fmla="*/ 21 w 36"/>
                <a:gd name="T9" fmla="*/ 34 h 41"/>
                <a:gd name="T10" fmla="*/ 30 w 36"/>
                <a:gd name="T11" fmla="*/ 30 h 41"/>
                <a:gd name="T12" fmla="*/ 36 w 36"/>
                <a:gd name="T13" fmla="*/ 35 h 41"/>
                <a:gd name="T14" fmla="*/ 21 w 36"/>
                <a:gd name="T15" fmla="*/ 41 h 41"/>
                <a:gd name="T16" fmla="*/ 0 w 36"/>
                <a:gd name="T17" fmla="*/ 21 h 41"/>
                <a:gd name="T18" fmla="*/ 21 w 36"/>
                <a:gd name="T19" fmla="*/ 0 h 41"/>
                <a:gd name="T20" fmla="*/ 36 w 36"/>
                <a:gd name="T21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41">
                  <a:moveTo>
                    <a:pt x="36" y="6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27" y="9"/>
                    <a:pt x="24" y="7"/>
                    <a:pt x="20" y="7"/>
                  </a:cubicBezTo>
                  <a:cubicBezTo>
                    <a:pt x="13" y="7"/>
                    <a:pt x="8" y="13"/>
                    <a:pt x="8" y="21"/>
                  </a:cubicBezTo>
                  <a:cubicBezTo>
                    <a:pt x="8" y="29"/>
                    <a:pt x="13" y="34"/>
                    <a:pt x="21" y="34"/>
                  </a:cubicBezTo>
                  <a:cubicBezTo>
                    <a:pt x="25" y="34"/>
                    <a:pt x="28" y="33"/>
                    <a:pt x="30" y="30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2" y="40"/>
                    <a:pt x="26" y="41"/>
                    <a:pt x="21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26" y="0"/>
                    <a:pt x="32" y="2"/>
                    <a:pt x="3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2"/>
            <p:cNvSpPr>
              <a:spLocks noEditPoints="1"/>
            </p:cNvSpPr>
            <p:nvPr/>
          </p:nvSpPr>
          <p:spPr bwMode="auto">
            <a:xfrm>
              <a:off x="2406650" y="850900"/>
              <a:ext cx="79375" cy="84138"/>
            </a:xfrm>
            <a:custGeom>
              <a:avLst/>
              <a:gdLst>
                <a:gd name="T0" fmla="*/ 39 w 39"/>
                <a:gd name="T1" fmla="*/ 21 h 41"/>
                <a:gd name="T2" fmla="*/ 39 w 39"/>
                <a:gd name="T3" fmla="*/ 23 h 41"/>
                <a:gd name="T4" fmla="*/ 8 w 39"/>
                <a:gd name="T5" fmla="*/ 23 h 41"/>
                <a:gd name="T6" fmla="*/ 21 w 39"/>
                <a:gd name="T7" fmla="*/ 35 h 41"/>
                <a:gd name="T8" fmla="*/ 32 w 39"/>
                <a:gd name="T9" fmla="*/ 29 h 41"/>
                <a:gd name="T10" fmla="*/ 38 w 39"/>
                <a:gd name="T11" fmla="*/ 33 h 41"/>
                <a:gd name="T12" fmla="*/ 20 w 39"/>
                <a:gd name="T13" fmla="*/ 41 h 41"/>
                <a:gd name="T14" fmla="*/ 0 w 39"/>
                <a:gd name="T15" fmla="*/ 21 h 41"/>
                <a:gd name="T16" fmla="*/ 20 w 39"/>
                <a:gd name="T17" fmla="*/ 0 h 41"/>
                <a:gd name="T18" fmla="*/ 39 w 39"/>
                <a:gd name="T19" fmla="*/ 21 h 41"/>
                <a:gd name="T20" fmla="*/ 31 w 39"/>
                <a:gd name="T21" fmla="*/ 17 h 41"/>
                <a:gd name="T22" fmla="*/ 20 w 39"/>
                <a:gd name="T23" fmla="*/ 6 h 41"/>
                <a:gd name="T24" fmla="*/ 8 w 39"/>
                <a:gd name="T25" fmla="*/ 17 h 41"/>
                <a:gd name="T26" fmla="*/ 31 w 39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1">
                  <a:moveTo>
                    <a:pt x="39" y="21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4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3" y="39"/>
                    <a:pt x="28" y="41"/>
                    <a:pt x="20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39" y="8"/>
                    <a:pt x="39" y="21"/>
                  </a:cubicBezTo>
                  <a:close/>
                  <a:moveTo>
                    <a:pt x="31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3515497"/>
            <a:ext cx="2844800" cy="95807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Presenter Titl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539141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TITLE SLIDE HEADLINE COP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6875" y="2506663"/>
            <a:ext cx="2849563" cy="909637"/>
          </a:xfrm>
        </p:spPr>
        <p:txBody>
          <a:bodyPr vert="horz" lIns="0" tIns="0" rIns="0" bIns="0" rtlCol="0">
            <a:noAutofit/>
          </a:bodyPr>
          <a:lstStyle>
            <a:lvl1pPr marL="169200" indent="-169200">
              <a:buNone/>
              <a:defRPr lang="en-US" sz="1400" b="0" cap="all" spc="0" baseline="0" smtClean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bg-BG">
                <a:solidFill>
                  <a:schemeClr val="bg1"/>
                </a:solidFill>
              </a:defRPr>
            </a:lvl5pPr>
          </a:lstStyle>
          <a:p>
            <a:pPr marL="0" lvl="0" indent="0"/>
            <a:r>
              <a:rPr lang="en-US" dirty="0"/>
              <a:t>OPTIONAL SUB-HEADLINE</a:t>
            </a:r>
          </a:p>
        </p:txBody>
      </p:sp>
    </p:spTree>
    <p:extLst>
      <p:ext uri="{BB962C8B-B14F-4D97-AF65-F5344CB8AC3E}">
        <p14:creationId xmlns:p14="http://schemas.microsoft.com/office/powerpoint/2010/main" val="2696736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G - 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5288" y="4960856"/>
            <a:ext cx="3240000" cy="923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396875" y="346075"/>
            <a:ext cx="2363787" cy="590550"/>
            <a:chOff x="396875" y="346075"/>
            <a:chExt cx="2363787" cy="590550"/>
          </a:xfrm>
          <a:solidFill>
            <a:schemeClr val="bg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96875" y="346075"/>
              <a:ext cx="2363787" cy="360363"/>
            </a:xfrm>
            <a:custGeom>
              <a:avLst/>
              <a:gdLst>
                <a:gd name="T0" fmla="*/ 1015 w 1141"/>
                <a:gd name="T1" fmla="*/ 164 h 174"/>
                <a:gd name="T2" fmla="*/ 1008 w 1141"/>
                <a:gd name="T3" fmla="*/ 148 h 174"/>
                <a:gd name="T4" fmla="*/ 962 w 1141"/>
                <a:gd name="T5" fmla="*/ 149 h 174"/>
                <a:gd name="T6" fmla="*/ 1019 w 1141"/>
                <a:gd name="T7" fmla="*/ 118 h 174"/>
                <a:gd name="T8" fmla="*/ 828 w 1141"/>
                <a:gd name="T9" fmla="*/ 96 h 174"/>
                <a:gd name="T10" fmla="*/ 737 w 1141"/>
                <a:gd name="T11" fmla="*/ 76 h 174"/>
                <a:gd name="T12" fmla="*/ 743 w 1141"/>
                <a:gd name="T13" fmla="*/ 93 h 174"/>
                <a:gd name="T14" fmla="*/ 794 w 1141"/>
                <a:gd name="T15" fmla="*/ 100 h 174"/>
                <a:gd name="T16" fmla="*/ 779 w 1141"/>
                <a:gd name="T17" fmla="*/ 174 h 174"/>
                <a:gd name="T18" fmla="*/ 198 w 1141"/>
                <a:gd name="T19" fmla="*/ 131 h 174"/>
                <a:gd name="T20" fmla="*/ 171 w 1141"/>
                <a:gd name="T21" fmla="*/ 148 h 174"/>
                <a:gd name="T22" fmla="*/ 165 w 1141"/>
                <a:gd name="T23" fmla="*/ 163 h 174"/>
                <a:gd name="T24" fmla="*/ 246 w 1141"/>
                <a:gd name="T25" fmla="*/ 139 h 174"/>
                <a:gd name="T26" fmla="*/ 214 w 1141"/>
                <a:gd name="T27" fmla="*/ 87 h 174"/>
                <a:gd name="T28" fmla="*/ 243 w 1141"/>
                <a:gd name="T29" fmla="*/ 75 h 174"/>
                <a:gd name="T30" fmla="*/ 165 w 1141"/>
                <a:gd name="T31" fmla="*/ 98 h 174"/>
                <a:gd name="T32" fmla="*/ 41 w 1141"/>
                <a:gd name="T33" fmla="*/ 72 h 174"/>
                <a:gd name="T34" fmla="*/ 66 w 1141"/>
                <a:gd name="T35" fmla="*/ 0 h 174"/>
                <a:gd name="T36" fmla="*/ 794 w 1141"/>
                <a:gd name="T37" fmla="*/ 152 h 174"/>
                <a:gd name="T38" fmla="*/ 794 w 1141"/>
                <a:gd name="T39" fmla="*/ 123 h 174"/>
                <a:gd name="T40" fmla="*/ 954 w 1141"/>
                <a:gd name="T41" fmla="*/ 98 h 174"/>
                <a:gd name="T42" fmla="*/ 987 w 1141"/>
                <a:gd name="T43" fmla="*/ 114 h 174"/>
                <a:gd name="T44" fmla="*/ 653 w 1141"/>
                <a:gd name="T45" fmla="*/ 151 h 174"/>
                <a:gd name="T46" fmla="*/ 619 w 1141"/>
                <a:gd name="T47" fmla="*/ 71 h 174"/>
                <a:gd name="T48" fmla="*/ 590 w 1141"/>
                <a:gd name="T49" fmla="*/ 71 h 174"/>
                <a:gd name="T50" fmla="*/ 502 w 1141"/>
                <a:gd name="T51" fmla="*/ 33 h 174"/>
                <a:gd name="T52" fmla="*/ 471 w 1141"/>
                <a:gd name="T53" fmla="*/ 68 h 174"/>
                <a:gd name="T54" fmla="*/ 437 w 1141"/>
                <a:gd name="T55" fmla="*/ 46 h 174"/>
                <a:gd name="T56" fmla="*/ 452 w 1141"/>
                <a:gd name="T57" fmla="*/ 45 h 174"/>
                <a:gd name="T58" fmla="*/ 426 w 1141"/>
                <a:gd name="T59" fmla="*/ 23 h 174"/>
                <a:gd name="T60" fmla="*/ 373 w 1141"/>
                <a:gd name="T61" fmla="*/ 71 h 174"/>
                <a:gd name="T62" fmla="*/ 391 w 1141"/>
                <a:gd name="T63" fmla="*/ 169 h 174"/>
                <a:gd name="T64" fmla="*/ 425 w 1141"/>
                <a:gd name="T65" fmla="*/ 91 h 174"/>
                <a:gd name="T66" fmla="*/ 533 w 1141"/>
                <a:gd name="T67" fmla="*/ 169 h 174"/>
                <a:gd name="T68" fmla="*/ 531 w 1141"/>
                <a:gd name="T69" fmla="*/ 148 h 174"/>
                <a:gd name="T70" fmla="*/ 505 w 1141"/>
                <a:gd name="T71" fmla="*/ 137 h 174"/>
                <a:gd name="T72" fmla="*/ 573 w 1141"/>
                <a:gd name="T73" fmla="*/ 170 h 174"/>
                <a:gd name="T74" fmla="*/ 715 w 1141"/>
                <a:gd name="T75" fmla="*/ 144 h 174"/>
                <a:gd name="T76" fmla="*/ 682 w 1141"/>
                <a:gd name="T77" fmla="*/ 71 h 174"/>
                <a:gd name="T78" fmla="*/ 908 w 1141"/>
                <a:gd name="T79" fmla="*/ 66 h 174"/>
                <a:gd name="T80" fmla="*/ 852 w 1141"/>
                <a:gd name="T81" fmla="*/ 169 h 174"/>
                <a:gd name="T82" fmla="*/ 886 w 1141"/>
                <a:gd name="T83" fmla="*/ 92 h 174"/>
                <a:gd name="T84" fmla="*/ 313 w 1141"/>
                <a:gd name="T85" fmla="*/ 174 h 174"/>
                <a:gd name="T86" fmla="*/ 296 w 1141"/>
                <a:gd name="T87" fmla="*/ 120 h 174"/>
                <a:gd name="T88" fmla="*/ 296 w 1141"/>
                <a:gd name="T89" fmla="*/ 120 h 174"/>
                <a:gd name="T90" fmla="*/ 1064 w 1141"/>
                <a:gd name="T91" fmla="*/ 92 h 174"/>
                <a:gd name="T92" fmla="*/ 1125 w 1141"/>
                <a:gd name="T93" fmla="*/ 106 h 174"/>
                <a:gd name="T94" fmla="*/ 1138 w 1141"/>
                <a:gd name="T95" fmla="*/ 76 h 174"/>
                <a:gd name="T96" fmla="*/ 1141 w 1141"/>
                <a:gd name="T97" fmla="*/ 71 h 174"/>
                <a:gd name="T98" fmla="*/ 1125 w 1141"/>
                <a:gd name="T99" fmla="*/ 113 h 174"/>
                <a:gd name="T100" fmla="*/ 1141 w 1141"/>
                <a:gd name="T101" fmla="*/ 88 h 174"/>
                <a:gd name="T102" fmla="*/ 1123 w 1141"/>
                <a:gd name="T103" fmla="*/ 94 h 174"/>
                <a:gd name="T104" fmla="*/ 1062 w 1141"/>
                <a:gd name="T105" fmla="*/ 68 h 174"/>
                <a:gd name="T106" fmla="*/ 1048 w 1141"/>
                <a:gd name="T107" fmla="*/ 112 h 174"/>
                <a:gd name="T108" fmla="*/ 1080 w 1141"/>
                <a:gd name="T109" fmla="*/ 99 h 174"/>
                <a:gd name="T110" fmla="*/ 1094 w 1141"/>
                <a:gd name="T111" fmla="*/ 112 h 174"/>
                <a:gd name="T112" fmla="*/ 70 w 1141"/>
                <a:gd name="T113" fmla="*/ 68 h 174"/>
                <a:gd name="T114" fmla="*/ 21 w 1141"/>
                <a:gd name="T115" fmla="*/ 172 h 174"/>
                <a:gd name="T116" fmla="*/ 70 w 1141"/>
                <a:gd name="T117" fmla="*/ 6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1" h="174">
                  <a:moveTo>
                    <a:pt x="919" y="120"/>
                  </a:moveTo>
                  <a:cubicBezTo>
                    <a:pt x="919" y="160"/>
                    <a:pt x="937" y="174"/>
                    <a:pt x="975" y="174"/>
                  </a:cubicBezTo>
                  <a:cubicBezTo>
                    <a:pt x="992" y="174"/>
                    <a:pt x="1006" y="169"/>
                    <a:pt x="1012" y="167"/>
                  </a:cubicBezTo>
                  <a:cubicBezTo>
                    <a:pt x="1014" y="167"/>
                    <a:pt x="1015" y="165"/>
                    <a:pt x="1015" y="164"/>
                  </a:cubicBezTo>
                  <a:cubicBezTo>
                    <a:pt x="1015" y="163"/>
                    <a:pt x="1015" y="163"/>
                    <a:pt x="1015" y="162"/>
                  </a:cubicBezTo>
                  <a:cubicBezTo>
                    <a:pt x="1012" y="151"/>
                    <a:pt x="1012" y="151"/>
                    <a:pt x="1012" y="151"/>
                  </a:cubicBezTo>
                  <a:cubicBezTo>
                    <a:pt x="1012" y="151"/>
                    <a:pt x="1012" y="151"/>
                    <a:pt x="1012" y="151"/>
                  </a:cubicBezTo>
                  <a:cubicBezTo>
                    <a:pt x="1011" y="148"/>
                    <a:pt x="1010" y="148"/>
                    <a:pt x="1008" y="148"/>
                  </a:cubicBezTo>
                  <a:cubicBezTo>
                    <a:pt x="1008" y="148"/>
                    <a:pt x="1007" y="148"/>
                    <a:pt x="1006" y="148"/>
                  </a:cubicBezTo>
                  <a:cubicBezTo>
                    <a:pt x="1006" y="148"/>
                    <a:pt x="1006" y="148"/>
                    <a:pt x="1006" y="148"/>
                  </a:cubicBezTo>
                  <a:cubicBezTo>
                    <a:pt x="1001" y="150"/>
                    <a:pt x="992" y="152"/>
                    <a:pt x="981" y="152"/>
                  </a:cubicBezTo>
                  <a:cubicBezTo>
                    <a:pt x="973" y="152"/>
                    <a:pt x="966" y="151"/>
                    <a:pt x="962" y="149"/>
                  </a:cubicBezTo>
                  <a:cubicBezTo>
                    <a:pt x="957" y="146"/>
                    <a:pt x="954" y="141"/>
                    <a:pt x="954" y="133"/>
                  </a:cubicBezTo>
                  <a:cubicBezTo>
                    <a:pt x="1015" y="133"/>
                    <a:pt x="1015" y="133"/>
                    <a:pt x="1015" y="133"/>
                  </a:cubicBezTo>
                  <a:cubicBezTo>
                    <a:pt x="1019" y="133"/>
                    <a:pt x="1019" y="130"/>
                    <a:pt x="1019" y="127"/>
                  </a:cubicBezTo>
                  <a:cubicBezTo>
                    <a:pt x="1019" y="118"/>
                    <a:pt x="1019" y="118"/>
                    <a:pt x="1019" y="118"/>
                  </a:cubicBezTo>
                  <a:cubicBezTo>
                    <a:pt x="1019" y="100"/>
                    <a:pt x="1016" y="86"/>
                    <a:pt x="1009" y="78"/>
                  </a:cubicBezTo>
                  <a:cubicBezTo>
                    <a:pt x="1001" y="70"/>
                    <a:pt x="988" y="66"/>
                    <a:pt x="970" y="66"/>
                  </a:cubicBezTo>
                  <a:cubicBezTo>
                    <a:pt x="932" y="66"/>
                    <a:pt x="919" y="80"/>
                    <a:pt x="919" y="120"/>
                  </a:cubicBezTo>
                  <a:moveTo>
                    <a:pt x="828" y="96"/>
                  </a:moveTo>
                  <a:cubicBezTo>
                    <a:pt x="828" y="85"/>
                    <a:pt x="824" y="77"/>
                    <a:pt x="815" y="71"/>
                  </a:cubicBezTo>
                  <a:cubicBezTo>
                    <a:pt x="808" y="67"/>
                    <a:pt x="798" y="66"/>
                    <a:pt x="784" y="66"/>
                  </a:cubicBezTo>
                  <a:cubicBezTo>
                    <a:pt x="763" y="66"/>
                    <a:pt x="743" y="71"/>
                    <a:pt x="740" y="73"/>
                  </a:cubicBezTo>
                  <a:cubicBezTo>
                    <a:pt x="738" y="73"/>
                    <a:pt x="737" y="74"/>
                    <a:pt x="737" y="76"/>
                  </a:cubicBezTo>
                  <a:cubicBezTo>
                    <a:pt x="737" y="76"/>
                    <a:pt x="737" y="76"/>
                    <a:pt x="737" y="76"/>
                  </a:cubicBezTo>
                  <a:cubicBezTo>
                    <a:pt x="737" y="76"/>
                    <a:pt x="737" y="77"/>
                    <a:pt x="737" y="77"/>
                  </a:cubicBezTo>
                  <a:cubicBezTo>
                    <a:pt x="741" y="92"/>
                    <a:pt x="741" y="92"/>
                    <a:pt x="741" y="92"/>
                  </a:cubicBezTo>
                  <a:cubicBezTo>
                    <a:pt x="741" y="93"/>
                    <a:pt x="742" y="93"/>
                    <a:pt x="743" y="93"/>
                  </a:cubicBezTo>
                  <a:cubicBezTo>
                    <a:pt x="743" y="93"/>
                    <a:pt x="743" y="93"/>
                    <a:pt x="744" y="93"/>
                  </a:cubicBezTo>
                  <a:cubicBezTo>
                    <a:pt x="748" y="92"/>
                    <a:pt x="764" y="88"/>
                    <a:pt x="776" y="88"/>
                  </a:cubicBezTo>
                  <a:cubicBezTo>
                    <a:pt x="783" y="88"/>
                    <a:pt x="787" y="88"/>
                    <a:pt x="790" y="89"/>
                  </a:cubicBezTo>
                  <a:cubicBezTo>
                    <a:pt x="793" y="91"/>
                    <a:pt x="794" y="94"/>
                    <a:pt x="794" y="100"/>
                  </a:cubicBezTo>
                  <a:cubicBezTo>
                    <a:pt x="794" y="104"/>
                    <a:pt x="794" y="104"/>
                    <a:pt x="794" y="104"/>
                  </a:cubicBezTo>
                  <a:cubicBezTo>
                    <a:pt x="760" y="109"/>
                    <a:pt x="760" y="109"/>
                    <a:pt x="760" y="109"/>
                  </a:cubicBezTo>
                  <a:cubicBezTo>
                    <a:pt x="747" y="111"/>
                    <a:pt x="731" y="115"/>
                    <a:pt x="731" y="140"/>
                  </a:cubicBezTo>
                  <a:cubicBezTo>
                    <a:pt x="731" y="170"/>
                    <a:pt x="755" y="174"/>
                    <a:pt x="779" y="174"/>
                  </a:cubicBezTo>
                  <a:cubicBezTo>
                    <a:pt x="791" y="174"/>
                    <a:pt x="800" y="173"/>
                    <a:pt x="808" y="171"/>
                  </a:cubicBezTo>
                  <a:cubicBezTo>
                    <a:pt x="821" y="168"/>
                    <a:pt x="828" y="166"/>
                    <a:pt x="828" y="151"/>
                  </a:cubicBezTo>
                  <a:lnTo>
                    <a:pt x="828" y="96"/>
                  </a:lnTo>
                  <a:close/>
                  <a:moveTo>
                    <a:pt x="198" y="131"/>
                  </a:moveTo>
                  <a:cubicBezTo>
                    <a:pt x="208" y="133"/>
                    <a:pt x="212" y="134"/>
                    <a:pt x="212" y="142"/>
                  </a:cubicBezTo>
                  <a:cubicBezTo>
                    <a:pt x="212" y="150"/>
                    <a:pt x="205" y="152"/>
                    <a:pt x="198" y="152"/>
                  </a:cubicBezTo>
                  <a:cubicBezTo>
                    <a:pt x="188" y="152"/>
                    <a:pt x="176" y="149"/>
                    <a:pt x="171" y="148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70" y="148"/>
                    <a:pt x="169" y="148"/>
                    <a:pt x="169" y="148"/>
                  </a:cubicBezTo>
                  <a:cubicBezTo>
                    <a:pt x="168" y="148"/>
                    <a:pt x="167" y="148"/>
                    <a:pt x="167" y="150"/>
                  </a:cubicBezTo>
                  <a:cubicBezTo>
                    <a:pt x="165" y="163"/>
                    <a:pt x="165" y="163"/>
                    <a:pt x="165" y="163"/>
                  </a:cubicBezTo>
                  <a:cubicBezTo>
                    <a:pt x="164" y="164"/>
                    <a:pt x="164" y="165"/>
                    <a:pt x="164" y="165"/>
                  </a:cubicBezTo>
                  <a:cubicBezTo>
                    <a:pt x="164" y="167"/>
                    <a:pt x="165" y="167"/>
                    <a:pt x="166" y="168"/>
                  </a:cubicBezTo>
                  <a:cubicBezTo>
                    <a:pt x="170" y="170"/>
                    <a:pt x="186" y="174"/>
                    <a:pt x="203" y="174"/>
                  </a:cubicBezTo>
                  <a:cubicBezTo>
                    <a:pt x="227" y="174"/>
                    <a:pt x="246" y="165"/>
                    <a:pt x="246" y="139"/>
                  </a:cubicBezTo>
                  <a:cubicBezTo>
                    <a:pt x="246" y="115"/>
                    <a:pt x="232" y="110"/>
                    <a:pt x="218" y="108"/>
                  </a:cubicBezTo>
                  <a:cubicBezTo>
                    <a:pt x="215" y="107"/>
                    <a:pt x="215" y="107"/>
                    <a:pt x="215" y="107"/>
                  </a:cubicBezTo>
                  <a:cubicBezTo>
                    <a:pt x="207" y="106"/>
                    <a:pt x="200" y="104"/>
                    <a:pt x="200" y="96"/>
                  </a:cubicBezTo>
                  <a:cubicBezTo>
                    <a:pt x="200" y="88"/>
                    <a:pt x="208" y="87"/>
                    <a:pt x="214" y="87"/>
                  </a:cubicBezTo>
                  <a:cubicBezTo>
                    <a:pt x="222" y="87"/>
                    <a:pt x="230" y="88"/>
                    <a:pt x="234" y="89"/>
                  </a:cubicBezTo>
                  <a:cubicBezTo>
                    <a:pt x="236" y="90"/>
                    <a:pt x="237" y="90"/>
                    <a:pt x="238" y="90"/>
                  </a:cubicBezTo>
                  <a:cubicBezTo>
                    <a:pt x="239" y="90"/>
                    <a:pt x="240" y="89"/>
                    <a:pt x="240" y="88"/>
                  </a:cubicBezTo>
                  <a:cubicBezTo>
                    <a:pt x="241" y="83"/>
                    <a:pt x="242" y="79"/>
                    <a:pt x="243" y="75"/>
                  </a:cubicBezTo>
                  <a:cubicBezTo>
                    <a:pt x="243" y="75"/>
                    <a:pt x="243" y="74"/>
                    <a:pt x="243" y="73"/>
                  </a:cubicBezTo>
                  <a:cubicBezTo>
                    <a:pt x="243" y="71"/>
                    <a:pt x="242" y="70"/>
                    <a:pt x="239" y="69"/>
                  </a:cubicBezTo>
                  <a:cubicBezTo>
                    <a:pt x="234" y="68"/>
                    <a:pt x="222" y="66"/>
                    <a:pt x="209" y="66"/>
                  </a:cubicBezTo>
                  <a:cubicBezTo>
                    <a:pt x="191" y="66"/>
                    <a:pt x="165" y="68"/>
                    <a:pt x="165" y="98"/>
                  </a:cubicBezTo>
                  <a:cubicBezTo>
                    <a:pt x="165" y="124"/>
                    <a:pt x="183" y="128"/>
                    <a:pt x="196" y="131"/>
                  </a:cubicBezTo>
                  <a:lnTo>
                    <a:pt x="198" y="131"/>
                  </a:lnTo>
                  <a:close/>
                  <a:moveTo>
                    <a:pt x="41" y="106"/>
                  </a:moveTo>
                  <a:cubicBezTo>
                    <a:pt x="41" y="72"/>
                    <a:pt x="41" y="72"/>
                    <a:pt x="41" y="72"/>
                  </a:cubicBezTo>
                  <a:cubicBezTo>
                    <a:pt x="41" y="50"/>
                    <a:pt x="50" y="40"/>
                    <a:pt x="70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6" y="0"/>
                    <a:pt x="0" y="29"/>
                    <a:pt x="0" y="69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41" y="106"/>
                  </a:lnTo>
                  <a:close/>
                  <a:moveTo>
                    <a:pt x="794" y="152"/>
                  </a:moveTo>
                  <a:cubicBezTo>
                    <a:pt x="793" y="152"/>
                    <a:pt x="787" y="153"/>
                    <a:pt x="780" y="153"/>
                  </a:cubicBezTo>
                  <a:cubicBezTo>
                    <a:pt x="773" y="153"/>
                    <a:pt x="763" y="152"/>
                    <a:pt x="763" y="139"/>
                  </a:cubicBezTo>
                  <a:cubicBezTo>
                    <a:pt x="763" y="128"/>
                    <a:pt x="769" y="127"/>
                    <a:pt x="776" y="126"/>
                  </a:cubicBezTo>
                  <a:cubicBezTo>
                    <a:pt x="794" y="123"/>
                    <a:pt x="794" y="123"/>
                    <a:pt x="794" y="123"/>
                  </a:cubicBezTo>
                  <a:lnTo>
                    <a:pt x="794" y="152"/>
                  </a:lnTo>
                  <a:close/>
                  <a:moveTo>
                    <a:pt x="953" y="114"/>
                  </a:moveTo>
                  <a:cubicBezTo>
                    <a:pt x="953" y="112"/>
                    <a:pt x="953" y="112"/>
                    <a:pt x="953" y="112"/>
                  </a:cubicBezTo>
                  <a:cubicBezTo>
                    <a:pt x="953" y="109"/>
                    <a:pt x="953" y="103"/>
                    <a:pt x="954" y="98"/>
                  </a:cubicBezTo>
                  <a:cubicBezTo>
                    <a:pt x="956" y="92"/>
                    <a:pt x="959" y="87"/>
                    <a:pt x="970" y="87"/>
                  </a:cubicBezTo>
                  <a:cubicBezTo>
                    <a:pt x="979" y="87"/>
                    <a:pt x="984" y="91"/>
                    <a:pt x="986" y="97"/>
                  </a:cubicBezTo>
                  <a:cubicBezTo>
                    <a:pt x="987" y="101"/>
                    <a:pt x="987" y="107"/>
                    <a:pt x="987" y="111"/>
                  </a:cubicBezTo>
                  <a:cubicBezTo>
                    <a:pt x="987" y="114"/>
                    <a:pt x="987" y="114"/>
                    <a:pt x="987" y="114"/>
                  </a:cubicBezTo>
                  <a:lnTo>
                    <a:pt x="953" y="114"/>
                  </a:lnTo>
                  <a:close/>
                  <a:moveTo>
                    <a:pt x="682" y="139"/>
                  </a:moveTo>
                  <a:cubicBezTo>
                    <a:pt x="682" y="150"/>
                    <a:pt x="675" y="153"/>
                    <a:pt x="667" y="153"/>
                  </a:cubicBezTo>
                  <a:cubicBezTo>
                    <a:pt x="660" y="153"/>
                    <a:pt x="653" y="151"/>
                    <a:pt x="653" y="151"/>
                  </a:cubicBezTo>
                  <a:cubicBezTo>
                    <a:pt x="653" y="71"/>
                    <a:pt x="653" y="71"/>
                    <a:pt x="653" y="71"/>
                  </a:cubicBezTo>
                  <a:cubicBezTo>
                    <a:pt x="653" y="69"/>
                    <a:pt x="652" y="68"/>
                    <a:pt x="650" y="68"/>
                  </a:cubicBezTo>
                  <a:cubicBezTo>
                    <a:pt x="621" y="68"/>
                    <a:pt x="621" y="68"/>
                    <a:pt x="621" y="68"/>
                  </a:cubicBezTo>
                  <a:cubicBezTo>
                    <a:pt x="620" y="68"/>
                    <a:pt x="619" y="69"/>
                    <a:pt x="619" y="71"/>
                  </a:cubicBezTo>
                  <a:cubicBezTo>
                    <a:pt x="619" y="139"/>
                    <a:pt x="619" y="139"/>
                    <a:pt x="619" y="139"/>
                  </a:cubicBezTo>
                  <a:cubicBezTo>
                    <a:pt x="619" y="150"/>
                    <a:pt x="615" y="153"/>
                    <a:pt x="607" y="153"/>
                  </a:cubicBezTo>
                  <a:cubicBezTo>
                    <a:pt x="600" y="153"/>
                    <a:pt x="590" y="151"/>
                    <a:pt x="590" y="151"/>
                  </a:cubicBezTo>
                  <a:cubicBezTo>
                    <a:pt x="590" y="71"/>
                    <a:pt x="590" y="71"/>
                    <a:pt x="590" y="71"/>
                  </a:cubicBezTo>
                  <a:cubicBezTo>
                    <a:pt x="590" y="69"/>
                    <a:pt x="589" y="68"/>
                    <a:pt x="587" y="68"/>
                  </a:cubicBezTo>
                  <a:cubicBezTo>
                    <a:pt x="505" y="68"/>
                    <a:pt x="505" y="68"/>
                    <a:pt x="505" y="68"/>
                  </a:cubicBezTo>
                  <a:cubicBezTo>
                    <a:pt x="505" y="36"/>
                    <a:pt x="505" y="36"/>
                    <a:pt x="505" y="36"/>
                  </a:cubicBezTo>
                  <a:cubicBezTo>
                    <a:pt x="505" y="34"/>
                    <a:pt x="504" y="33"/>
                    <a:pt x="502" y="33"/>
                  </a:cubicBezTo>
                  <a:cubicBezTo>
                    <a:pt x="501" y="33"/>
                    <a:pt x="500" y="33"/>
                    <a:pt x="500" y="33"/>
                  </a:cubicBezTo>
                  <a:cubicBezTo>
                    <a:pt x="475" y="37"/>
                    <a:pt x="475" y="37"/>
                    <a:pt x="475" y="37"/>
                  </a:cubicBezTo>
                  <a:cubicBezTo>
                    <a:pt x="472" y="38"/>
                    <a:pt x="471" y="40"/>
                    <a:pt x="471" y="42"/>
                  </a:cubicBezTo>
                  <a:cubicBezTo>
                    <a:pt x="471" y="68"/>
                    <a:pt x="471" y="68"/>
                    <a:pt x="471" y="68"/>
                  </a:cubicBezTo>
                  <a:cubicBezTo>
                    <a:pt x="425" y="68"/>
                    <a:pt x="425" y="68"/>
                    <a:pt x="425" y="68"/>
                  </a:cubicBezTo>
                  <a:cubicBezTo>
                    <a:pt x="425" y="57"/>
                    <a:pt x="425" y="57"/>
                    <a:pt x="425" y="57"/>
                  </a:cubicBezTo>
                  <a:cubicBezTo>
                    <a:pt x="425" y="53"/>
                    <a:pt x="426" y="50"/>
                    <a:pt x="427" y="49"/>
                  </a:cubicBezTo>
                  <a:cubicBezTo>
                    <a:pt x="430" y="47"/>
                    <a:pt x="432" y="46"/>
                    <a:pt x="437" y="46"/>
                  </a:cubicBezTo>
                  <a:cubicBezTo>
                    <a:pt x="440" y="46"/>
                    <a:pt x="445" y="47"/>
                    <a:pt x="447" y="47"/>
                  </a:cubicBezTo>
                  <a:cubicBezTo>
                    <a:pt x="447" y="47"/>
                    <a:pt x="448" y="47"/>
                    <a:pt x="448" y="47"/>
                  </a:cubicBezTo>
                  <a:cubicBezTo>
                    <a:pt x="449" y="48"/>
                    <a:pt x="450" y="48"/>
                    <a:pt x="451" y="48"/>
                  </a:cubicBezTo>
                  <a:cubicBezTo>
                    <a:pt x="452" y="48"/>
                    <a:pt x="452" y="47"/>
                    <a:pt x="452" y="45"/>
                  </a:cubicBezTo>
                  <a:cubicBezTo>
                    <a:pt x="455" y="31"/>
                    <a:pt x="455" y="31"/>
                    <a:pt x="455" y="31"/>
                  </a:cubicBezTo>
                  <a:cubicBezTo>
                    <a:pt x="455" y="31"/>
                    <a:pt x="455" y="30"/>
                    <a:pt x="455" y="29"/>
                  </a:cubicBezTo>
                  <a:cubicBezTo>
                    <a:pt x="455" y="28"/>
                    <a:pt x="454" y="27"/>
                    <a:pt x="453" y="26"/>
                  </a:cubicBezTo>
                  <a:cubicBezTo>
                    <a:pt x="450" y="26"/>
                    <a:pt x="441" y="23"/>
                    <a:pt x="426" y="23"/>
                  </a:cubicBezTo>
                  <a:cubicBezTo>
                    <a:pt x="402" y="23"/>
                    <a:pt x="391" y="34"/>
                    <a:pt x="391" y="55"/>
                  </a:cubicBezTo>
                  <a:cubicBezTo>
                    <a:pt x="391" y="68"/>
                    <a:pt x="391" y="68"/>
                    <a:pt x="391" y="68"/>
                  </a:cubicBezTo>
                  <a:cubicBezTo>
                    <a:pt x="376" y="68"/>
                    <a:pt x="376" y="68"/>
                    <a:pt x="376" y="68"/>
                  </a:cubicBezTo>
                  <a:cubicBezTo>
                    <a:pt x="374" y="68"/>
                    <a:pt x="373" y="69"/>
                    <a:pt x="373" y="71"/>
                  </a:cubicBezTo>
                  <a:cubicBezTo>
                    <a:pt x="373" y="89"/>
                    <a:pt x="373" y="89"/>
                    <a:pt x="373" y="89"/>
                  </a:cubicBezTo>
                  <a:cubicBezTo>
                    <a:pt x="373" y="90"/>
                    <a:pt x="374" y="91"/>
                    <a:pt x="376" y="91"/>
                  </a:cubicBezTo>
                  <a:cubicBezTo>
                    <a:pt x="391" y="91"/>
                    <a:pt x="391" y="91"/>
                    <a:pt x="391" y="91"/>
                  </a:cubicBezTo>
                  <a:cubicBezTo>
                    <a:pt x="391" y="169"/>
                    <a:pt x="391" y="169"/>
                    <a:pt x="391" y="169"/>
                  </a:cubicBezTo>
                  <a:cubicBezTo>
                    <a:pt x="391" y="170"/>
                    <a:pt x="392" y="171"/>
                    <a:pt x="393" y="171"/>
                  </a:cubicBezTo>
                  <a:cubicBezTo>
                    <a:pt x="422" y="171"/>
                    <a:pt x="422" y="171"/>
                    <a:pt x="422" y="171"/>
                  </a:cubicBezTo>
                  <a:cubicBezTo>
                    <a:pt x="424" y="171"/>
                    <a:pt x="425" y="170"/>
                    <a:pt x="425" y="169"/>
                  </a:cubicBezTo>
                  <a:cubicBezTo>
                    <a:pt x="425" y="91"/>
                    <a:pt x="425" y="91"/>
                    <a:pt x="425" y="91"/>
                  </a:cubicBezTo>
                  <a:cubicBezTo>
                    <a:pt x="471" y="91"/>
                    <a:pt x="471" y="91"/>
                    <a:pt x="471" y="91"/>
                  </a:cubicBezTo>
                  <a:cubicBezTo>
                    <a:pt x="471" y="139"/>
                    <a:pt x="471" y="139"/>
                    <a:pt x="471" y="139"/>
                  </a:cubicBezTo>
                  <a:cubicBezTo>
                    <a:pt x="471" y="164"/>
                    <a:pt x="484" y="173"/>
                    <a:pt x="508" y="173"/>
                  </a:cubicBezTo>
                  <a:cubicBezTo>
                    <a:pt x="522" y="173"/>
                    <a:pt x="531" y="170"/>
                    <a:pt x="533" y="169"/>
                  </a:cubicBezTo>
                  <a:cubicBezTo>
                    <a:pt x="535" y="169"/>
                    <a:pt x="536" y="168"/>
                    <a:pt x="536" y="166"/>
                  </a:cubicBezTo>
                  <a:cubicBezTo>
                    <a:pt x="536" y="165"/>
                    <a:pt x="536" y="164"/>
                    <a:pt x="536" y="164"/>
                  </a:cubicBezTo>
                  <a:cubicBezTo>
                    <a:pt x="533" y="150"/>
                    <a:pt x="533" y="150"/>
                    <a:pt x="533" y="150"/>
                  </a:cubicBezTo>
                  <a:cubicBezTo>
                    <a:pt x="532" y="149"/>
                    <a:pt x="532" y="148"/>
                    <a:pt x="531" y="148"/>
                  </a:cubicBezTo>
                  <a:cubicBezTo>
                    <a:pt x="531" y="148"/>
                    <a:pt x="530" y="148"/>
                    <a:pt x="529" y="148"/>
                  </a:cubicBezTo>
                  <a:cubicBezTo>
                    <a:pt x="529" y="148"/>
                    <a:pt x="529" y="148"/>
                    <a:pt x="528" y="148"/>
                  </a:cubicBezTo>
                  <a:cubicBezTo>
                    <a:pt x="526" y="149"/>
                    <a:pt x="522" y="149"/>
                    <a:pt x="517" y="149"/>
                  </a:cubicBezTo>
                  <a:cubicBezTo>
                    <a:pt x="507" y="149"/>
                    <a:pt x="505" y="144"/>
                    <a:pt x="505" y="137"/>
                  </a:cubicBezTo>
                  <a:cubicBezTo>
                    <a:pt x="505" y="92"/>
                    <a:pt x="505" y="92"/>
                    <a:pt x="505" y="92"/>
                  </a:cubicBezTo>
                  <a:cubicBezTo>
                    <a:pt x="556" y="92"/>
                    <a:pt x="556" y="92"/>
                    <a:pt x="556" y="92"/>
                  </a:cubicBezTo>
                  <a:cubicBezTo>
                    <a:pt x="556" y="159"/>
                    <a:pt x="556" y="159"/>
                    <a:pt x="556" y="159"/>
                  </a:cubicBezTo>
                  <a:cubicBezTo>
                    <a:pt x="556" y="165"/>
                    <a:pt x="562" y="168"/>
                    <a:pt x="573" y="170"/>
                  </a:cubicBezTo>
                  <a:cubicBezTo>
                    <a:pt x="582" y="172"/>
                    <a:pt x="594" y="174"/>
                    <a:pt x="604" y="174"/>
                  </a:cubicBezTo>
                  <a:cubicBezTo>
                    <a:pt x="616" y="174"/>
                    <a:pt x="628" y="172"/>
                    <a:pt x="637" y="165"/>
                  </a:cubicBezTo>
                  <a:cubicBezTo>
                    <a:pt x="649" y="172"/>
                    <a:pt x="662" y="174"/>
                    <a:pt x="675" y="174"/>
                  </a:cubicBezTo>
                  <a:cubicBezTo>
                    <a:pt x="699" y="174"/>
                    <a:pt x="715" y="168"/>
                    <a:pt x="715" y="144"/>
                  </a:cubicBezTo>
                  <a:cubicBezTo>
                    <a:pt x="715" y="71"/>
                    <a:pt x="715" y="71"/>
                    <a:pt x="715" y="71"/>
                  </a:cubicBezTo>
                  <a:cubicBezTo>
                    <a:pt x="715" y="69"/>
                    <a:pt x="714" y="68"/>
                    <a:pt x="713" y="68"/>
                  </a:cubicBezTo>
                  <a:cubicBezTo>
                    <a:pt x="684" y="68"/>
                    <a:pt x="684" y="68"/>
                    <a:pt x="684" y="68"/>
                  </a:cubicBezTo>
                  <a:cubicBezTo>
                    <a:pt x="683" y="68"/>
                    <a:pt x="682" y="69"/>
                    <a:pt x="682" y="71"/>
                  </a:cubicBezTo>
                  <a:lnTo>
                    <a:pt x="682" y="139"/>
                  </a:lnTo>
                  <a:close/>
                  <a:moveTo>
                    <a:pt x="912" y="86"/>
                  </a:moveTo>
                  <a:cubicBezTo>
                    <a:pt x="912" y="70"/>
                    <a:pt x="912" y="70"/>
                    <a:pt x="912" y="70"/>
                  </a:cubicBezTo>
                  <a:cubicBezTo>
                    <a:pt x="912" y="67"/>
                    <a:pt x="911" y="66"/>
                    <a:pt x="908" y="66"/>
                  </a:cubicBezTo>
                  <a:cubicBezTo>
                    <a:pt x="905" y="66"/>
                    <a:pt x="905" y="66"/>
                    <a:pt x="905" y="66"/>
                  </a:cubicBezTo>
                  <a:cubicBezTo>
                    <a:pt x="893" y="66"/>
                    <a:pt x="879" y="67"/>
                    <a:pt x="870" y="69"/>
                  </a:cubicBezTo>
                  <a:cubicBezTo>
                    <a:pt x="858" y="72"/>
                    <a:pt x="852" y="74"/>
                    <a:pt x="852" y="81"/>
                  </a:cubicBezTo>
                  <a:cubicBezTo>
                    <a:pt x="852" y="169"/>
                    <a:pt x="852" y="169"/>
                    <a:pt x="852" y="169"/>
                  </a:cubicBezTo>
                  <a:cubicBezTo>
                    <a:pt x="852" y="170"/>
                    <a:pt x="853" y="171"/>
                    <a:pt x="855" y="171"/>
                  </a:cubicBezTo>
                  <a:cubicBezTo>
                    <a:pt x="884" y="171"/>
                    <a:pt x="884" y="171"/>
                    <a:pt x="884" y="171"/>
                  </a:cubicBezTo>
                  <a:cubicBezTo>
                    <a:pt x="885" y="171"/>
                    <a:pt x="886" y="170"/>
                    <a:pt x="886" y="169"/>
                  </a:cubicBezTo>
                  <a:cubicBezTo>
                    <a:pt x="886" y="92"/>
                    <a:pt x="886" y="92"/>
                    <a:pt x="886" y="92"/>
                  </a:cubicBezTo>
                  <a:cubicBezTo>
                    <a:pt x="888" y="91"/>
                    <a:pt x="897" y="90"/>
                    <a:pt x="909" y="90"/>
                  </a:cubicBezTo>
                  <a:cubicBezTo>
                    <a:pt x="912" y="90"/>
                    <a:pt x="912" y="88"/>
                    <a:pt x="912" y="86"/>
                  </a:cubicBezTo>
                  <a:moveTo>
                    <a:pt x="261" y="120"/>
                  </a:moveTo>
                  <a:cubicBezTo>
                    <a:pt x="261" y="150"/>
                    <a:pt x="268" y="174"/>
                    <a:pt x="313" y="174"/>
                  </a:cubicBezTo>
                  <a:cubicBezTo>
                    <a:pt x="358" y="174"/>
                    <a:pt x="364" y="150"/>
                    <a:pt x="364" y="120"/>
                  </a:cubicBezTo>
                  <a:cubicBezTo>
                    <a:pt x="364" y="89"/>
                    <a:pt x="358" y="66"/>
                    <a:pt x="313" y="66"/>
                  </a:cubicBezTo>
                  <a:cubicBezTo>
                    <a:pt x="268" y="66"/>
                    <a:pt x="261" y="89"/>
                    <a:pt x="261" y="120"/>
                  </a:cubicBezTo>
                  <a:moveTo>
                    <a:pt x="296" y="120"/>
                  </a:moveTo>
                  <a:cubicBezTo>
                    <a:pt x="296" y="97"/>
                    <a:pt x="297" y="88"/>
                    <a:pt x="313" y="88"/>
                  </a:cubicBezTo>
                  <a:cubicBezTo>
                    <a:pt x="328" y="88"/>
                    <a:pt x="329" y="97"/>
                    <a:pt x="329" y="120"/>
                  </a:cubicBezTo>
                  <a:cubicBezTo>
                    <a:pt x="329" y="143"/>
                    <a:pt x="328" y="152"/>
                    <a:pt x="313" y="152"/>
                  </a:cubicBezTo>
                  <a:cubicBezTo>
                    <a:pt x="297" y="152"/>
                    <a:pt x="296" y="143"/>
                    <a:pt x="296" y="120"/>
                  </a:cubicBezTo>
                  <a:moveTo>
                    <a:pt x="1069" y="75"/>
                  </a:moveTo>
                  <a:cubicBezTo>
                    <a:pt x="1073" y="75"/>
                    <a:pt x="1073" y="75"/>
                    <a:pt x="1073" y="75"/>
                  </a:cubicBezTo>
                  <a:cubicBezTo>
                    <a:pt x="1078" y="92"/>
                    <a:pt x="1078" y="92"/>
                    <a:pt x="1078" y="92"/>
                  </a:cubicBezTo>
                  <a:cubicBezTo>
                    <a:pt x="1064" y="92"/>
                    <a:pt x="1064" y="92"/>
                    <a:pt x="1064" y="92"/>
                  </a:cubicBezTo>
                  <a:lnTo>
                    <a:pt x="1069" y="75"/>
                  </a:lnTo>
                  <a:close/>
                  <a:moveTo>
                    <a:pt x="1131" y="95"/>
                  </a:moveTo>
                  <a:cubicBezTo>
                    <a:pt x="1131" y="106"/>
                    <a:pt x="1131" y="106"/>
                    <a:pt x="1131" y="106"/>
                  </a:cubicBezTo>
                  <a:cubicBezTo>
                    <a:pt x="1131" y="106"/>
                    <a:pt x="1128" y="106"/>
                    <a:pt x="1125" y="106"/>
                  </a:cubicBezTo>
                  <a:cubicBezTo>
                    <a:pt x="1117" y="106"/>
                    <a:pt x="1112" y="104"/>
                    <a:pt x="1112" y="91"/>
                  </a:cubicBezTo>
                  <a:cubicBezTo>
                    <a:pt x="1112" y="77"/>
                    <a:pt x="1117" y="75"/>
                    <a:pt x="1126" y="75"/>
                  </a:cubicBezTo>
                  <a:cubicBezTo>
                    <a:pt x="1130" y="75"/>
                    <a:pt x="1134" y="76"/>
                    <a:pt x="1137" y="76"/>
                  </a:cubicBezTo>
                  <a:cubicBezTo>
                    <a:pt x="1137" y="76"/>
                    <a:pt x="1138" y="76"/>
                    <a:pt x="1138" y="76"/>
                  </a:cubicBezTo>
                  <a:cubicBezTo>
                    <a:pt x="1138" y="76"/>
                    <a:pt x="1139" y="76"/>
                    <a:pt x="1139" y="76"/>
                  </a:cubicBezTo>
                  <a:cubicBezTo>
                    <a:pt x="1140" y="76"/>
                    <a:pt x="1140" y="76"/>
                    <a:pt x="1140" y="75"/>
                  </a:cubicBezTo>
                  <a:cubicBezTo>
                    <a:pt x="1141" y="72"/>
                    <a:pt x="1141" y="72"/>
                    <a:pt x="1141" y="72"/>
                  </a:cubicBezTo>
                  <a:cubicBezTo>
                    <a:pt x="1141" y="72"/>
                    <a:pt x="1141" y="71"/>
                    <a:pt x="1141" y="71"/>
                  </a:cubicBezTo>
                  <a:cubicBezTo>
                    <a:pt x="1141" y="70"/>
                    <a:pt x="1140" y="70"/>
                    <a:pt x="1140" y="70"/>
                  </a:cubicBezTo>
                  <a:cubicBezTo>
                    <a:pt x="1139" y="69"/>
                    <a:pt x="1132" y="67"/>
                    <a:pt x="1124" y="67"/>
                  </a:cubicBezTo>
                  <a:cubicBezTo>
                    <a:pt x="1108" y="67"/>
                    <a:pt x="1101" y="73"/>
                    <a:pt x="1101" y="90"/>
                  </a:cubicBezTo>
                  <a:cubicBezTo>
                    <a:pt x="1101" y="107"/>
                    <a:pt x="1107" y="113"/>
                    <a:pt x="1125" y="113"/>
                  </a:cubicBezTo>
                  <a:cubicBezTo>
                    <a:pt x="1129" y="113"/>
                    <a:pt x="1135" y="112"/>
                    <a:pt x="1137" y="112"/>
                  </a:cubicBezTo>
                  <a:cubicBezTo>
                    <a:pt x="1137" y="112"/>
                    <a:pt x="1137" y="112"/>
                    <a:pt x="1137" y="112"/>
                  </a:cubicBezTo>
                  <a:cubicBezTo>
                    <a:pt x="1140" y="111"/>
                    <a:pt x="1141" y="110"/>
                    <a:pt x="1141" y="107"/>
                  </a:cubicBezTo>
                  <a:cubicBezTo>
                    <a:pt x="1141" y="88"/>
                    <a:pt x="1141" y="88"/>
                    <a:pt x="1141" y="88"/>
                  </a:cubicBezTo>
                  <a:cubicBezTo>
                    <a:pt x="1141" y="88"/>
                    <a:pt x="1141" y="88"/>
                    <a:pt x="1140" y="88"/>
                  </a:cubicBezTo>
                  <a:cubicBezTo>
                    <a:pt x="1124" y="88"/>
                    <a:pt x="1124" y="88"/>
                    <a:pt x="1124" y="88"/>
                  </a:cubicBezTo>
                  <a:cubicBezTo>
                    <a:pt x="1123" y="88"/>
                    <a:pt x="1123" y="88"/>
                    <a:pt x="1123" y="88"/>
                  </a:cubicBezTo>
                  <a:cubicBezTo>
                    <a:pt x="1123" y="94"/>
                    <a:pt x="1123" y="94"/>
                    <a:pt x="1123" y="94"/>
                  </a:cubicBezTo>
                  <a:cubicBezTo>
                    <a:pt x="1123" y="94"/>
                    <a:pt x="1123" y="95"/>
                    <a:pt x="1124" y="95"/>
                  </a:cubicBezTo>
                  <a:lnTo>
                    <a:pt x="1131" y="95"/>
                  </a:lnTo>
                  <a:close/>
                  <a:moveTo>
                    <a:pt x="1079" y="68"/>
                  </a:moveTo>
                  <a:cubicBezTo>
                    <a:pt x="1062" y="68"/>
                    <a:pt x="1062" y="68"/>
                    <a:pt x="1062" y="68"/>
                  </a:cubicBezTo>
                  <a:cubicBezTo>
                    <a:pt x="1062" y="68"/>
                    <a:pt x="1062" y="69"/>
                    <a:pt x="1062" y="69"/>
                  </a:cubicBezTo>
                  <a:cubicBezTo>
                    <a:pt x="1047" y="111"/>
                    <a:pt x="1047" y="111"/>
                    <a:pt x="1047" y="111"/>
                  </a:cubicBezTo>
                  <a:cubicBezTo>
                    <a:pt x="1047" y="111"/>
                    <a:pt x="1047" y="112"/>
                    <a:pt x="1047" y="112"/>
                  </a:cubicBezTo>
                  <a:cubicBezTo>
                    <a:pt x="1047" y="112"/>
                    <a:pt x="1047" y="112"/>
                    <a:pt x="1048" y="112"/>
                  </a:cubicBezTo>
                  <a:cubicBezTo>
                    <a:pt x="1058" y="112"/>
                    <a:pt x="1058" y="112"/>
                    <a:pt x="1058" y="112"/>
                  </a:cubicBezTo>
                  <a:cubicBezTo>
                    <a:pt x="1059" y="112"/>
                    <a:pt x="1059" y="112"/>
                    <a:pt x="1059" y="112"/>
                  </a:cubicBezTo>
                  <a:cubicBezTo>
                    <a:pt x="1062" y="99"/>
                    <a:pt x="1062" y="99"/>
                    <a:pt x="1062" y="99"/>
                  </a:cubicBezTo>
                  <a:cubicBezTo>
                    <a:pt x="1080" y="99"/>
                    <a:pt x="1080" y="99"/>
                    <a:pt x="1080" y="99"/>
                  </a:cubicBezTo>
                  <a:cubicBezTo>
                    <a:pt x="1083" y="112"/>
                    <a:pt x="1083" y="112"/>
                    <a:pt x="1083" y="112"/>
                  </a:cubicBezTo>
                  <a:cubicBezTo>
                    <a:pt x="1083" y="112"/>
                    <a:pt x="1083" y="112"/>
                    <a:pt x="1083" y="112"/>
                  </a:cubicBezTo>
                  <a:cubicBezTo>
                    <a:pt x="1093" y="112"/>
                    <a:pt x="1093" y="112"/>
                    <a:pt x="1093" y="112"/>
                  </a:cubicBezTo>
                  <a:cubicBezTo>
                    <a:pt x="1094" y="112"/>
                    <a:pt x="1094" y="112"/>
                    <a:pt x="1094" y="112"/>
                  </a:cubicBezTo>
                  <a:cubicBezTo>
                    <a:pt x="1094" y="112"/>
                    <a:pt x="1094" y="111"/>
                    <a:pt x="1094" y="111"/>
                  </a:cubicBezTo>
                  <a:cubicBezTo>
                    <a:pt x="1080" y="69"/>
                    <a:pt x="1080" y="69"/>
                    <a:pt x="1080" y="69"/>
                  </a:cubicBezTo>
                  <a:cubicBezTo>
                    <a:pt x="1080" y="69"/>
                    <a:pt x="1080" y="68"/>
                    <a:pt x="1079" y="68"/>
                  </a:cubicBezTo>
                  <a:moveTo>
                    <a:pt x="70" y="68"/>
                  </a:moveTo>
                  <a:cubicBezTo>
                    <a:pt x="70" y="98"/>
                    <a:pt x="70" y="98"/>
                    <a:pt x="70" y="98"/>
                  </a:cubicBezTo>
                  <a:cubicBezTo>
                    <a:pt x="70" y="119"/>
                    <a:pt x="61" y="132"/>
                    <a:pt x="41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43" y="172"/>
                    <a:pt x="43" y="172"/>
                    <a:pt x="43" y="172"/>
                  </a:cubicBezTo>
                  <a:cubicBezTo>
                    <a:pt x="81" y="172"/>
                    <a:pt x="111" y="145"/>
                    <a:pt x="111" y="101"/>
                  </a:cubicBezTo>
                  <a:cubicBezTo>
                    <a:pt x="111" y="68"/>
                    <a:pt x="111" y="68"/>
                    <a:pt x="111" y="68"/>
                  </a:cubicBezTo>
                  <a:lnTo>
                    <a:pt x="7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757238" y="812800"/>
              <a:ext cx="77787" cy="120650"/>
            </a:xfrm>
            <a:custGeom>
              <a:avLst/>
              <a:gdLst>
                <a:gd name="T0" fmla="*/ 49 w 49"/>
                <a:gd name="T1" fmla="*/ 0 h 76"/>
                <a:gd name="T2" fmla="*/ 49 w 49"/>
                <a:gd name="T3" fmla="*/ 9 h 76"/>
                <a:gd name="T4" fmla="*/ 11 w 49"/>
                <a:gd name="T5" fmla="*/ 9 h 76"/>
                <a:gd name="T6" fmla="*/ 11 w 49"/>
                <a:gd name="T7" fmla="*/ 33 h 76"/>
                <a:gd name="T8" fmla="*/ 46 w 49"/>
                <a:gd name="T9" fmla="*/ 33 h 76"/>
                <a:gd name="T10" fmla="*/ 46 w 49"/>
                <a:gd name="T11" fmla="*/ 43 h 76"/>
                <a:gd name="T12" fmla="*/ 11 w 49"/>
                <a:gd name="T13" fmla="*/ 43 h 76"/>
                <a:gd name="T14" fmla="*/ 11 w 49"/>
                <a:gd name="T15" fmla="*/ 76 h 76"/>
                <a:gd name="T16" fmla="*/ 0 w 49"/>
                <a:gd name="T17" fmla="*/ 76 h 76"/>
                <a:gd name="T18" fmla="*/ 0 w 49"/>
                <a:gd name="T19" fmla="*/ 0 h 76"/>
                <a:gd name="T20" fmla="*/ 49 w 49"/>
                <a:gd name="T2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76">
                  <a:moveTo>
                    <a:pt x="49" y="0"/>
                  </a:moveTo>
                  <a:lnTo>
                    <a:pt x="49" y="9"/>
                  </a:lnTo>
                  <a:lnTo>
                    <a:pt x="11" y="9"/>
                  </a:lnTo>
                  <a:lnTo>
                    <a:pt x="11" y="33"/>
                  </a:lnTo>
                  <a:lnTo>
                    <a:pt x="46" y="33"/>
                  </a:lnTo>
                  <a:lnTo>
                    <a:pt x="46" y="43"/>
                  </a:lnTo>
                  <a:lnTo>
                    <a:pt x="11" y="43"/>
                  </a:lnTo>
                  <a:lnTo>
                    <a:pt x="11" y="76"/>
                  </a:lnTo>
                  <a:lnTo>
                    <a:pt x="0" y="76"/>
                  </a:lnTo>
                  <a:lnTo>
                    <a:pt x="0" y="0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857250" y="850900"/>
              <a:ext cx="47625" cy="82550"/>
            </a:xfrm>
            <a:custGeom>
              <a:avLst/>
              <a:gdLst>
                <a:gd name="T0" fmla="*/ 23 w 23"/>
                <a:gd name="T1" fmla="*/ 1 h 40"/>
                <a:gd name="T2" fmla="*/ 23 w 23"/>
                <a:gd name="T3" fmla="*/ 9 h 40"/>
                <a:gd name="T4" fmla="*/ 19 w 23"/>
                <a:gd name="T5" fmla="*/ 8 h 40"/>
                <a:gd name="T6" fmla="*/ 8 w 23"/>
                <a:gd name="T7" fmla="*/ 20 h 40"/>
                <a:gd name="T8" fmla="*/ 8 w 23"/>
                <a:gd name="T9" fmla="*/ 40 h 40"/>
                <a:gd name="T10" fmla="*/ 0 w 23"/>
                <a:gd name="T11" fmla="*/ 40 h 40"/>
                <a:gd name="T12" fmla="*/ 0 w 23"/>
                <a:gd name="T13" fmla="*/ 1 h 40"/>
                <a:gd name="T14" fmla="*/ 8 w 23"/>
                <a:gd name="T15" fmla="*/ 1 h 40"/>
                <a:gd name="T16" fmla="*/ 8 w 23"/>
                <a:gd name="T17" fmla="*/ 7 h 40"/>
                <a:gd name="T18" fmla="*/ 8 w 23"/>
                <a:gd name="T19" fmla="*/ 7 h 40"/>
                <a:gd name="T20" fmla="*/ 20 w 23"/>
                <a:gd name="T21" fmla="*/ 0 h 40"/>
                <a:gd name="T22" fmla="*/ 23 w 23"/>
                <a:gd name="T2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23" y="1"/>
                  </a:moveTo>
                  <a:cubicBezTo>
                    <a:pt x="23" y="9"/>
                    <a:pt x="23" y="9"/>
                    <a:pt x="23" y="9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1" y="8"/>
                    <a:pt x="8" y="12"/>
                    <a:pt x="8" y="2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3"/>
                    <a:pt x="15" y="0"/>
                    <a:pt x="20" y="0"/>
                  </a:cubicBezTo>
                  <a:cubicBezTo>
                    <a:pt x="21" y="0"/>
                    <a:pt x="22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917575" y="850900"/>
              <a:ext cx="82550" cy="84138"/>
            </a:xfrm>
            <a:custGeom>
              <a:avLst/>
              <a:gdLst>
                <a:gd name="T0" fmla="*/ 40 w 40"/>
                <a:gd name="T1" fmla="*/ 21 h 41"/>
                <a:gd name="T2" fmla="*/ 40 w 40"/>
                <a:gd name="T3" fmla="*/ 23 h 41"/>
                <a:gd name="T4" fmla="*/ 8 w 40"/>
                <a:gd name="T5" fmla="*/ 23 h 41"/>
                <a:gd name="T6" fmla="*/ 22 w 40"/>
                <a:gd name="T7" fmla="*/ 35 h 41"/>
                <a:gd name="T8" fmla="*/ 32 w 40"/>
                <a:gd name="T9" fmla="*/ 29 h 41"/>
                <a:gd name="T10" fmla="*/ 38 w 40"/>
                <a:gd name="T11" fmla="*/ 33 h 41"/>
                <a:gd name="T12" fmla="*/ 21 w 40"/>
                <a:gd name="T13" fmla="*/ 41 h 41"/>
                <a:gd name="T14" fmla="*/ 0 w 40"/>
                <a:gd name="T15" fmla="*/ 21 h 41"/>
                <a:gd name="T16" fmla="*/ 21 w 40"/>
                <a:gd name="T17" fmla="*/ 0 h 41"/>
                <a:gd name="T18" fmla="*/ 40 w 40"/>
                <a:gd name="T19" fmla="*/ 21 h 41"/>
                <a:gd name="T20" fmla="*/ 32 w 40"/>
                <a:gd name="T21" fmla="*/ 17 h 41"/>
                <a:gd name="T22" fmla="*/ 21 w 40"/>
                <a:gd name="T23" fmla="*/ 6 h 41"/>
                <a:gd name="T24" fmla="*/ 8 w 40"/>
                <a:gd name="T25" fmla="*/ 17 h 41"/>
                <a:gd name="T26" fmla="*/ 32 w 40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40" y="21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5" y="35"/>
                    <a:pt x="22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4" y="39"/>
                    <a:pt x="28" y="41"/>
                    <a:pt x="21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32" y="0"/>
                    <a:pt x="40" y="8"/>
                    <a:pt x="40" y="21"/>
                  </a:cubicBezTo>
                  <a:close/>
                  <a:moveTo>
                    <a:pt x="32" y="17"/>
                  </a:moveTo>
                  <a:cubicBezTo>
                    <a:pt x="32" y="10"/>
                    <a:pt x="27" y="6"/>
                    <a:pt x="21" y="6"/>
                  </a:cubicBezTo>
                  <a:cubicBezTo>
                    <a:pt x="13" y="6"/>
                    <a:pt x="8" y="13"/>
                    <a:pt x="8" y="17"/>
                  </a:cubicBezTo>
                  <a:lnTo>
                    <a:pt x="3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19175" y="850900"/>
              <a:ext cx="79375" cy="84138"/>
            </a:xfrm>
            <a:custGeom>
              <a:avLst/>
              <a:gdLst>
                <a:gd name="T0" fmla="*/ 39 w 39"/>
                <a:gd name="T1" fmla="*/ 21 h 41"/>
                <a:gd name="T2" fmla="*/ 39 w 39"/>
                <a:gd name="T3" fmla="*/ 23 h 41"/>
                <a:gd name="T4" fmla="*/ 8 w 39"/>
                <a:gd name="T5" fmla="*/ 23 h 41"/>
                <a:gd name="T6" fmla="*/ 21 w 39"/>
                <a:gd name="T7" fmla="*/ 35 h 41"/>
                <a:gd name="T8" fmla="*/ 32 w 39"/>
                <a:gd name="T9" fmla="*/ 29 h 41"/>
                <a:gd name="T10" fmla="*/ 37 w 39"/>
                <a:gd name="T11" fmla="*/ 33 h 41"/>
                <a:gd name="T12" fmla="*/ 20 w 39"/>
                <a:gd name="T13" fmla="*/ 41 h 41"/>
                <a:gd name="T14" fmla="*/ 0 w 39"/>
                <a:gd name="T15" fmla="*/ 21 h 41"/>
                <a:gd name="T16" fmla="*/ 20 w 39"/>
                <a:gd name="T17" fmla="*/ 0 h 41"/>
                <a:gd name="T18" fmla="*/ 39 w 39"/>
                <a:gd name="T19" fmla="*/ 21 h 41"/>
                <a:gd name="T20" fmla="*/ 31 w 39"/>
                <a:gd name="T21" fmla="*/ 17 h 41"/>
                <a:gd name="T22" fmla="*/ 20 w 39"/>
                <a:gd name="T23" fmla="*/ 6 h 41"/>
                <a:gd name="T24" fmla="*/ 8 w 39"/>
                <a:gd name="T25" fmla="*/ 17 h 41"/>
                <a:gd name="T26" fmla="*/ 31 w 39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1">
                  <a:moveTo>
                    <a:pt x="39" y="21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4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3" y="39"/>
                    <a:pt x="28" y="41"/>
                    <a:pt x="20" y="41"/>
                  </a:cubicBezTo>
                  <a:cubicBezTo>
                    <a:pt x="8" y="41"/>
                    <a:pt x="0" y="33"/>
                    <a:pt x="0" y="21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39" y="8"/>
                    <a:pt x="39" y="21"/>
                  </a:cubicBezTo>
                  <a:close/>
                  <a:moveTo>
                    <a:pt x="31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1120775" y="804863"/>
              <a:ext cx="84137" cy="130175"/>
            </a:xfrm>
            <a:custGeom>
              <a:avLst/>
              <a:gdLst>
                <a:gd name="T0" fmla="*/ 41 w 41"/>
                <a:gd name="T1" fmla="*/ 0 h 63"/>
                <a:gd name="T2" fmla="*/ 41 w 41"/>
                <a:gd name="T3" fmla="*/ 62 h 63"/>
                <a:gd name="T4" fmla="*/ 33 w 41"/>
                <a:gd name="T5" fmla="*/ 62 h 63"/>
                <a:gd name="T6" fmla="*/ 33 w 41"/>
                <a:gd name="T7" fmla="*/ 57 h 63"/>
                <a:gd name="T8" fmla="*/ 33 w 41"/>
                <a:gd name="T9" fmla="*/ 57 h 63"/>
                <a:gd name="T10" fmla="*/ 20 w 41"/>
                <a:gd name="T11" fmla="*/ 63 h 63"/>
                <a:gd name="T12" fmla="*/ 0 w 41"/>
                <a:gd name="T13" fmla="*/ 43 h 63"/>
                <a:gd name="T14" fmla="*/ 20 w 41"/>
                <a:gd name="T15" fmla="*/ 22 h 63"/>
                <a:gd name="T16" fmla="*/ 33 w 41"/>
                <a:gd name="T17" fmla="*/ 29 h 63"/>
                <a:gd name="T18" fmla="*/ 33 w 41"/>
                <a:gd name="T19" fmla="*/ 29 h 63"/>
                <a:gd name="T20" fmla="*/ 33 w 41"/>
                <a:gd name="T21" fmla="*/ 0 h 63"/>
                <a:gd name="T22" fmla="*/ 41 w 41"/>
                <a:gd name="T23" fmla="*/ 0 h 63"/>
                <a:gd name="T24" fmla="*/ 21 w 41"/>
                <a:gd name="T25" fmla="*/ 56 h 63"/>
                <a:gd name="T26" fmla="*/ 33 w 41"/>
                <a:gd name="T27" fmla="*/ 43 h 63"/>
                <a:gd name="T28" fmla="*/ 20 w 41"/>
                <a:gd name="T29" fmla="*/ 29 h 63"/>
                <a:gd name="T30" fmla="*/ 8 w 41"/>
                <a:gd name="T31" fmla="*/ 43 h 63"/>
                <a:gd name="T32" fmla="*/ 21 w 41"/>
                <a:gd name="T33" fmla="*/ 5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63">
                  <a:moveTo>
                    <a:pt x="41" y="0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0" y="61"/>
                    <a:pt x="25" y="63"/>
                    <a:pt x="20" y="63"/>
                  </a:cubicBezTo>
                  <a:cubicBezTo>
                    <a:pt x="8" y="63"/>
                    <a:pt x="0" y="55"/>
                    <a:pt x="0" y="43"/>
                  </a:cubicBezTo>
                  <a:cubicBezTo>
                    <a:pt x="0" y="30"/>
                    <a:pt x="8" y="22"/>
                    <a:pt x="20" y="22"/>
                  </a:cubicBezTo>
                  <a:cubicBezTo>
                    <a:pt x="25" y="22"/>
                    <a:pt x="30" y="24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41" y="0"/>
                  </a:lnTo>
                  <a:close/>
                  <a:moveTo>
                    <a:pt x="21" y="56"/>
                  </a:moveTo>
                  <a:cubicBezTo>
                    <a:pt x="28" y="56"/>
                    <a:pt x="33" y="51"/>
                    <a:pt x="33" y="43"/>
                  </a:cubicBezTo>
                  <a:cubicBezTo>
                    <a:pt x="33" y="34"/>
                    <a:pt x="28" y="29"/>
                    <a:pt x="20" y="29"/>
                  </a:cubicBezTo>
                  <a:cubicBezTo>
                    <a:pt x="13" y="29"/>
                    <a:pt x="8" y="34"/>
                    <a:pt x="8" y="43"/>
                  </a:cubicBezTo>
                  <a:cubicBezTo>
                    <a:pt x="8" y="51"/>
                    <a:pt x="13" y="56"/>
                    <a:pt x="21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1230313" y="850900"/>
              <a:ext cx="84137" cy="84138"/>
            </a:xfrm>
            <a:custGeom>
              <a:avLst/>
              <a:gdLst>
                <a:gd name="T0" fmla="*/ 41 w 41"/>
                <a:gd name="T1" fmla="*/ 21 h 41"/>
                <a:gd name="T2" fmla="*/ 20 w 41"/>
                <a:gd name="T3" fmla="*/ 41 h 41"/>
                <a:gd name="T4" fmla="*/ 0 w 41"/>
                <a:gd name="T5" fmla="*/ 21 h 41"/>
                <a:gd name="T6" fmla="*/ 20 w 41"/>
                <a:gd name="T7" fmla="*/ 0 h 41"/>
                <a:gd name="T8" fmla="*/ 41 w 41"/>
                <a:gd name="T9" fmla="*/ 21 h 41"/>
                <a:gd name="T10" fmla="*/ 20 w 41"/>
                <a:gd name="T11" fmla="*/ 34 h 41"/>
                <a:gd name="T12" fmla="*/ 33 w 41"/>
                <a:gd name="T13" fmla="*/ 21 h 41"/>
                <a:gd name="T14" fmla="*/ 20 w 41"/>
                <a:gd name="T15" fmla="*/ 7 h 41"/>
                <a:gd name="T16" fmla="*/ 8 w 41"/>
                <a:gd name="T17" fmla="*/ 21 h 41"/>
                <a:gd name="T18" fmla="*/ 20 w 41"/>
                <a:gd name="T19" fmla="*/ 3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41" y="21"/>
                  </a:moveTo>
                  <a:cubicBezTo>
                    <a:pt x="41" y="32"/>
                    <a:pt x="32" y="41"/>
                    <a:pt x="20" y="41"/>
                  </a:cubicBezTo>
                  <a:cubicBezTo>
                    <a:pt x="9" y="41"/>
                    <a:pt x="0" y="32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1" y="9"/>
                    <a:pt x="41" y="21"/>
                  </a:cubicBezTo>
                  <a:close/>
                  <a:moveTo>
                    <a:pt x="20" y="34"/>
                  </a:moveTo>
                  <a:cubicBezTo>
                    <a:pt x="28" y="34"/>
                    <a:pt x="33" y="29"/>
                    <a:pt x="33" y="21"/>
                  </a:cubicBezTo>
                  <a:cubicBezTo>
                    <a:pt x="33" y="12"/>
                    <a:pt x="28" y="7"/>
                    <a:pt x="20" y="7"/>
                  </a:cubicBezTo>
                  <a:cubicBezTo>
                    <a:pt x="13" y="7"/>
                    <a:pt x="8" y="13"/>
                    <a:pt x="8" y="21"/>
                  </a:cubicBezTo>
                  <a:cubicBezTo>
                    <a:pt x="8" y="29"/>
                    <a:pt x="13" y="34"/>
                    <a:pt x="2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339850" y="850900"/>
              <a:ext cx="122237" cy="82550"/>
            </a:xfrm>
            <a:custGeom>
              <a:avLst/>
              <a:gdLst>
                <a:gd name="T0" fmla="*/ 32 w 59"/>
                <a:gd name="T1" fmla="*/ 7 h 40"/>
                <a:gd name="T2" fmla="*/ 44 w 59"/>
                <a:gd name="T3" fmla="*/ 0 h 40"/>
                <a:gd name="T4" fmla="*/ 59 w 59"/>
                <a:gd name="T5" fmla="*/ 17 h 40"/>
                <a:gd name="T6" fmla="*/ 59 w 59"/>
                <a:gd name="T7" fmla="*/ 40 h 40"/>
                <a:gd name="T8" fmla="*/ 52 w 59"/>
                <a:gd name="T9" fmla="*/ 40 h 40"/>
                <a:gd name="T10" fmla="*/ 52 w 59"/>
                <a:gd name="T11" fmla="*/ 18 h 40"/>
                <a:gd name="T12" fmla="*/ 43 w 59"/>
                <a:gd name="T13" fmla="*/ 7 h 40"/>
                <a:gd name="T14" fmla="*/ 33 w 59"/>
                <a:gd name="T15" fmla="*/ 18 h 40"/>
                <a:gd name="T16" fmla="*/ 33 w 59"/>
                <a:gd name="T17" fmla="*/ 40 h 40"/>
                <a:gd name="T18" fmla="*/ 26 w 59"/>
                <a:gd name="T19" fmla="*/ 40 h 40"/>
                <a:gd name="T20" fmla="*/ 26 w 59"/>
                <a:gd name="T21" fmla="*/ 19 h 40"/>
                <a:gd name="T22" fmla="*/ 18 w 59"/>
                <a:gd name="T23" fmla="*/ 7 h 40"/>
                <a:gd name="T24" fmla="*/ 8 w 59"/>
                <a:gd name="T25" fmla="*/ 20 h 40"/>
                <a:gd name="T26" fmla="*/ 8 w 59"/>
                <a:gd name="T27" fmla="*/ 40 h 40"/>
                <a:gd name="T28" fmla="*/ 0 w 59"/>
                <a:gd name="T29" fmla="*/ 40 h 40"/>
                <a:gd name="T30" fmla="*/ 0 w 59"/>
                <a:gd name="T31" fmla="*/ 1 h 40"/>
                <a:gd name="T32" fmla="*/ 7 w 59"/>
                <a:gd name="T33" fmla="*/ 1 h 40"/>
                <a:gd name="T34" fmla="*/ 7 w 59"/>
                <a:gd name="T35" fmla="*/ 7 h 40"/>
                <a:gd name="T36" fmla="*/ 7 w 59"/>
                <a:gd name="T37" fmla="*/ 7 h 40"/>
                <a:gd name="T38" fmla="*/ 20 w 59"/>
                <a:gd name="T39" fmla="*/ 0 h 40"/>
                <a:gd name="T40" fmla="*/ 32 w 59"/>
                <a:gd name="T41" fmla="*/ 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" h="40">
                  <a:moveTo>
                    <a:pt x="32" y="7"/>
                  </a:moveTo>
                  <a:cubicBezTo>
                    <a:pt x="34" y="3"/>
                    <a:pt x="39" y="0"/>
                    <a:pt x="44" y="0"/>
                  </a:cubicBezTo>
                  <a:cubicBezTo>
                    <a:pt x="54" y="0"/>
                    <a:pt x="59" y="6"/>
                    <a:pt x="59" y="17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0"/>
                    <a:pt x="49" y="7"/>
                    <a:pt x="43" y="7"/>
                  </a:cubicBezTo>
                  <a:cubicBezTo>
                    <a:pt x="37" y="7"/>
                    <a:pt x="33" y="11"/>
                    <a:pt x="33" y="18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0"/>
                    <a:pt x="23" y="7"/>
                    <a:pt x="18" y="7"/>
                  </a:cubicBezTo>
                  <a:cubicBezTo>
                    <a:pt x="12" y="7"/>
                    <a:pt x="8" y="12"/>
                    <a:pt x="8" y="2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9" y="3"/>
                    <a:pt x="14" y="0"/>
                    <a:pt x="20" y="0"/>
                  </a:cubicBezTo>
                  <a:cubicBezTo>
                    <a:pt x="26" y="0"/>
                    <a:pt x="29" y="2"/>
                    <a:pt x="3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538288" y="850900"/>
              <a:ext cx="73025" cy="84138"/>
            </a:xfrm>
            <a:custGeom>
              <a:avLst/>
              <a:gdLst>
                <a:gd name="T0" fmla="*/ 34 w 35"/>
                <a:gd name="T1" fmla="*/ 13 h 41"/>
                <a:gd name="T2" fmla="*/ 34 w 35"/>
                <a:gd name="T3" fmla="*/ 34 h 41"/>
                <a:gd name="T4" fmla="*/ 35 w 35"/>
                <a:gd name="T5" fmla="*/ 40 h 41"/>
                <a:gd name="T6" fmla="*/ 28 w 35"/>
                <a:gd name="T7" fmla="*/ 40 h 41"/>
                <a:gd name="T8" fmla="*/ 28 w 35"/>
                <a:gd name="T9" fmla="*/ 34 h 41"/>
                <a:gd name="T10" fmla="*/ 28 w 35"/>
                <a:gd name="T11" fmla="*/ 34 h 41"/>
                <a:gd name="T12" fmla="*/ 14 w 35"/>
                <a:gd name="T13" fmla="*/ 41 h 41"/>
                <a:gd name="T14" fmla="*/ 0 w 35"/>
                <a:gd name="T15" fmla="*/ 29 h 41"/>
                <a:gd name="T16" fmla="*/ 22 w 35"/>
                <a:gd name="T17" fmla="*/ 16 h 41"/>
                <a:gd name="T18" fmla="*/ 28 w 35"/>
                <a:gd name="T19" fmla="*/ 16 h 41"/>
                <a:gd name="T20" fmla="*/ 28 w 35"/>
                <a:gd name="T21" fmla="*/ 14 h 41"/>
                <a:gd name="T22" fmla="*/ 18 w 35"/>
                <a:gd name="T23" fmla="*/ 6 h 41"/>
                <a:gd name="T24" fmla="*/ 7 w 35"/>
                <a:gd name="T25" fmla="*/ 10 h 41"/>
                <a:gd name="T26" fmla="*/ 3 w 35"/>
                <a:gd name="T27" fmla="*/ 6 h 41"/>
                <a:gd name="T28" fmla="*/ 18 w 35"/>
                <a:gd name="T29" fmla="*/ 0 h 41"/>
                <a:gd name="T30" fmla="*/ 34 w 35"/>
                <a:gd name="T31" fmla="*/ 13 h 41"/>
                <a:gd name="T32" fmla="*/ 16 w 35"/>
                <a:gd name="T33" fmla="*/ 35 h 41"/>
                <a:gd name="T34" fmla="*/ 28 w 35"/>
                <a:gd name="T35" fmla="*/ 23 h 41"/>
                <a:gd name="T36" fmla="*/ 28 w 35"/>
                <a:gd name="T37" fmla="*/ 21 h 41"/>
                <a:gd name="T38" fmla="*/ 23 w 35"/>
                <a:gd name="T39" fmla="*/ 21 h 41"/>
                <a:gd name="T40" fmla="*/ 8 w 35"/>
                <a:gd name="T41" fmla="*/ 29 h 41"/>
                <a:gd name="T42" fmla="*/ 16 w 35"/>
                <a:gd name="T4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41">
                  <a:moveTo>
                    <a:pt x="34" y="13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5" y="38"/>
                    <a:pt x="35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8"/>
                    <a:pt x="28" y="37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4" y="39"/>
                    <a:pt x="20" y="41"/>
                    <a:pt x="14" y="41"/>
                  </a:cubicBezTo>
                  <a:cubicBezTo>
                    <a:pt x="6" y="41"/>
                    <a:pt x="0" y="37"/>
                    <a:pt x="0" y="29"/>
                  </a:cubicBezTo>
                  <a:cubicBezTo>
                    <a:pt x="0" y="22"/>
                    <a:pt x="7" y="16"/>
                    <a:pt x="22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9"/>
                    <a:pt x="24" y="6"/>
                    <a:pt x="18" y="6"/>
                  </a:cubicBezTo>
                  <a:cubicBezTo>
                    <a:pt x="14" y="6"/>
                    <a:pt x="11" y="7"/>
                    <a:pt x="7" y="10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7" y="2"/>
                    <a:pt x="12" y="0"/>
                    <a:pt x="18" y="0"/>
                  </a:cubicBezTo>
                  <a:cubicBezTo>
                    <a:pt x="30" y="0"/>
                    <a:pt x="34" y="7"/>
                    <a:pt x="34" y="13"/>
                  </a:cubicBezTo>
                  <a:close/>
                  <a:moveTo>
                    <a:pt x="16" y="35"/>
                  </a:moveTo>
                  <a:cubicBezTo>
                    <a:pt x="23" y="35"/>
                    <a:pt x="28" y="31"/>
                    <a:pt x="28" y="23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11" y="21"/>
                    <a:pt x="8" y="25"/>
                    <a:pt x="8" y="29"/>
                  </a:cubicBezTo>
                  <a:cubicBezTo>
                    <a:pt x="8" y="33"/>
                    <a:pt x="11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1628775" y="850900"/>
              <a:ext cx="65087" cy="84138"/>
            </a:xfrm>
            <a:custGeom>
              <a:avLst/>
              <a:gdLst>
                <a:gd name="T0" fmla="*/ 30 w 31"/>
                <a:gd name="T1" fmla="*/ 6 h 41"/>
                <a:gd name="T2" fmla="*/ 25 w 31"/>
                <a:gd name="T3" fmla="*/ 11 h 41"/>
                <a:gd name="T4" fmla="*/ 17 w 31"/>
                <a:gd name="T5" fmla="*/ 7 h 41"/>
                <a:gd name="T6" fmla="*/ 10 w 31"/>
                <a:gd name="T7" fmla="*/ 11 h 41"/>
                <a:gd name="T8" fmla="*/ 18 w 31"/>
                <a:gd name="T9" fmla="*/ 17 h 41"/>
                <a:gd name="T10" fmla="*/ 31 w 31"/>
                <a:gd name="T11" fmla="*/ 29 h 41"/>
                <a:gd name="T12" fmla="*/ 15 w 31"/>
                <a:gd name="T13" fmla="*/ 41 h 41"/>
                <a:gd name="T14" fmla="*/ 0 w 31"/>
                <a:gd name="T15" fmla="*/ 34 h 41"/>
                <a:gd name="T16" fmla="*/ 6 w 31"/>
                <a:gd name="T17" fmla="*/ 30 h 41"/>
                <a:gd name="T18" fmla="*/ 16 w 31"/>
                <a:gd name="T19" fmla="*/ 34 h 41"/>
                <a:gd name="T20" fmla="*/ 23 w 31"/>
                <a:gd name="T21" fmla="*/ 29 h 41"/>
                <a:gd name="T22" fmla="*/ 16 w 31"/>
                <a:gd name="T23" fmla="*/ 24 h 41"/>
                <a:gd name="T24" fmla="*/ 2 w 31"/>
                <a:gd name="T25" fmla="*/ 12 h 41"/>
                <a:gd name="T26" fmla="*/ 17 w 31"/>
                <a:gd name="T27" fmla="*/ 0 h 41"/>
                <a:gd name="T28" fmla="*/ 30 w 31"/>
                <a:gd name="T2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41">
                  <a:moveTo>
                    <a:pt x="30" y="6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23" y="9"/>
                    <a:pt x="20" y="7"/>
                    <a:pt x="17" y="7"/>
                  </a:cubicBezTo>
                  <a:cubicBezTo>
                    <a:pt x="13" y="7"/>
                    <a:pt x="10" y="9"/>
                    <a:pt x="10" y="11"/>
                  </a:cubicBezTo>
                  <a:cubicBezTo>
                    <a:pt x="10" y="15"/>
                    <a:pt x="13" y="16"/>
                    <a:pt x="18" y="17"/>
                  </a:cubicBezTo>
                  <a:cubicBezTo>
                    <a:pt x="27" y="19"/>
                    <a:pt x="31" y="22"/>
                    <a:pt x="31" y="29"/>
                  </a:cubicBezTo>
                  <a:cubicBezTo>
                    <a:pt x="31" y="37"/>
                    <a:pt x="24" y="41"/>
                    <a:pt x="15" y="41"/>
                  </a:cubicBezTo>
                  <a:cubicBezTo>
                    <a:pt x="8" y="41"/>
                    <a:pt x="4" y="39"/>
                    <a:pt x="0" y="34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9" y="33"/>
                    <a:pt x="12" y="34"/>
                    <a:pt x="16" y="34"/>
                  </a:cubicBezTo>
                  <a:cubicBezTo>
                    <a:pt x="20" y="34"/>
                    <a:pt x="23" y="32"/>
                    <a:pt x="23" y="29"/>
                  </a:cubicBezTo>
                  <a:cubicBezTo>
                    <a:pt x="23" y="26"/>
                    <a:pt x="21" y="25"/>
                    <a:pt x="16" y="24"/>
                  </a:cubicBezTo>
                  <a:cubicBezTo>
                    <a:pt x="7" y="22"/>
                    <a:pt x="2" y="19"/>
                    <a:pt x="2" y="12"/>
                  </a:cubicBezTo>
                  <a:cubicBezTo>
                    <a:pt x="2" y="4"/>
                    <a:pt x="10" y="0"/>
                    <a:pt x="17" y="0"/>
                  </a:cubicBezTo>
                  <a:cubicBezTo>
                    <a:pt x="23" y="0"/>
                    <a:pt x="28" y="2"/>
                    <a:pt x="3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5"/>
            <p:cNvSpPr>
              <a:spLocks noEditPoints="1"/>
            </p:cNvSpPr>
            <p:nvPr/>
          </p:nvSpPr>
          <p:spPr bwMode="auto">
            <a:xfrm>
              <a:off x="1766888" y="850900"/>
              <a:ext cx="71437" cy="84138"/>
            </a:xfrm>
            <a:custGeom>
              <a:avLst/>
              <a:gdLst>
                <a:gd name="T0" fmla="*/ 34 w 35"/>
                <a:gd name="T1" fmla="*/ 13 h 41"/>
                <a:gd name="T2" fmla="*/ 34 w 35"/>
                <a:gd name="T3" fmla="*/ 34 h 41"/>
                <a:gd name="T4" fmla="*/ 35 w 35"/>
                <a:gd name="T5" fmla="*/ 40 h 41"/>
                <a:gd name="T6" fmla="*/ 28 w 35"/>
                <a:gd name="T7" fmla="*/ 40 h 41"/>
                <a:gd name="T8" fmla="*/ 28 w 35"/>
                <a:gd name="T9" fmla="*/ 34 h 41"/>
                <a:gd name="T10" fmla="*/ 28 w 35"/>
                <a:gd name="T11" fmla="*/ 34 h 41"/>
                <a:gd name="T12" fmla="*/ 14 w 35"/>
                <a:gd name="T13" fmla="*/ 41 h 41"/>
                <a:gd name="T14" fmla="*/ 0 w 35"/>
                <a:gd name="T15" fmla="*/ 29 h 41"/>
                <a:gd name="T16" fmla="*/ 22 w 35"/>
                <a:gd name="T17" fmla="*/ 16 h 41"/>
                <a:gd name="T18" fmla="*/ 27 w 35"/>
                <a:gd name="T19" fmla="*/ 16 h 41"/>
                <a:gd name="T20" fmla="*/ 27 w 35"/>
                <a:gd name="T21" fmla="*/ 14 h 41"/>
                <a:gd name="T22" fmla="*/ 18 w 35"/>
                <a:gd name="T23" fmla="*/ 6 h 41"/>
                <a:gd name="T24" fmla="*/ 7 w 35"/>
                <a:gd name="T25" fmla="*/ 10 h 41"/>
                <a:gd name="T26" fmla="*/ 2 w 35"/>
                <a:gd name="T27" fmla="*/ 6 h 41"/>
                <a:gd name="T28" fmla="*/ 18 w 35"/>
                <a:gd name="T29" fmla="*/ 0 h 41"/>
                <a:gd name="T30" fmla="*/ 34 w 35"/>
                <a:gd name="T31" fmla="*/ 13 h 41"/>
                <a:gd name="T32" fmla="*/ 16 w 35"/>
                <a:gd name="T33" fmla="*/ 35 h 41"/>
                <a:gd name="T34" fmla="*/ 27 w 35"/>
                <a:gd name="T35" fmla="*/ 23 h 41"/>
                <a:gd name="T36" fmla="*/ 27 w 35"/>
                <a:gd name="T37" fmla="*/ 21 h 41"/>
                <a:gd name="T38" fmla="*/ 23 w 35"/>
                <a:gd name="T39" fmla="*/ 21 h 41"/>
                <a:gd name="T40" fmla="*/ 8 w 35"/>
                <a:gd name="T41" fmla="*/ 29 h 41"/>
                <a:gd name="T42" fmla="*/ 16 w 35"/>
                <a:gd name="T4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41">
                  <a:moveTo>
                    <a:pt x="34" y="13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4" y="38"/>
                    <a:pt x="35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8"/>
                    <a:pt x="28" y="37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4" y="39"/>
                    <a:pt x="20" y="41"/>
                    <a:pt x="14" y="41"/>
                  </a:cubicBezTo>
                  <a:cubicBezTo>
                    <a:pt x="6" y="41"/>
                    <a:pt x="0" y="37"/>
                    <a:pt x="0" y="29"/>
                  </a:cubicBezTo>
                  <a:cubicBezTo>
                    <a:pt x="0" y="22"/>
                    <a:pt x="7" y="16"/>
                    <a:pt x="22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9"/>
                    <a:pt x="24" y="6"/>
                    <a:pt x="18" y="6"/>
                  </a:cubicBezTo>
                  <a:cubicBezTo>
                    <a:pt x="14" y="6"/>
                    <a:pt x="11" y="7"/>
                    <a:pt x="7" y="1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7" y="2"/>
                    <a:pt x="12" y="0"/>
                    <a:pt x="18" y="0"/>
                  </a:cubicBezTo>
                  <a:cubicBezTo>
                    <a:pt x="30" y="0"/>
                    <a:pt x="34" y="7"/>
                    <a:pt x="34" y="13"/>
                  </a:cubicBezTo>
                  <a:close/>
                  <a:moveTo>
                    <a:pt x="16" y="35"/>
                  </a:moveTo>
                  <a:cubicBezTo>
                    <a:pt x="23" y="35"/>
                    <a:pt x="27" y="31"/>
                    <a:pt x="27" y="23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11" y="21"/>
                    <a:pt x="8" y="25"/>
                    <a:pt x="8" y="29"/>
                  </a:cubicBezTo>
                  <a:cubicBezTo>
                    <a:pt x="8" y="33"/>
                    <a:pt x="11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1911350" y="809625"/>
              <a:ext cx="80962" cy="127000"/>
            </a:xfrm>
            <a:custGeom>
              <a:avLst/>
              <a:gdLst>
                <a:gd name="T0" fmla="*/ 39 w 39"/>
                <a:gd name="T1" fmla="*/ 7 h 62"/>
                <a:gd name="T2" fmla="*/ 32 w 39"/>
                <a:gd name="T3" fmla="*/ 13 h 62"/>
                <a:gd name="T4" fmla="*/ 22 w 39"/>
                <a:gd name="T5" fmla="*/ 8 h 62"/>
                <a:gd name="T6" fmla="*/ 10 w 39"/>
                <a:gd name="T7" fmla="*/ 17 h 62"/>
                <a:gd name="T8" fmla="*/ 19 w 39"/>
                <a:gd name="T9" fmla="*/ 26 h 62"/>
                <a:gd name="T10" fmla="*/ 27 w 39"/>
                <a:gd name="T11" fmla="*/ 28 h 62"/>
                <a:gd name="T12" fmla="*/ 39 w 39"/>
                <a:gd name="T13" fmla="*/ 44 h 62"/>
                <a:gd name="T14" fmla="*/ 19 w 39"/>
                <a:gd name="T15" fmla="*/ 62 h 62"/>
                <a:gd name="T16" fmla="*/ 0 w 39"/>
                <a:gd name="T17" fmla="*/ 54 h 62"/>
                <a:gd name="T18" fmla="*/ 7 w 39"/>
                <a:gd name="T19" fmla="*/ 48 h 62"/>
                <a:gd name="T20" fmla="*/ 19 w 39"/>
                <a:gd name="T21" fmla="*/ 54 h 62"/>
                <a:gd name="T22" fmla="*/ 31 w 39"/>
                <a:gd name="T23" fmla="*/ 44 h 62"/>
                <a:gd name="T24" fmla="*/ 21 w 39"/>
                <a:gd name="T25" fmla="*/ 36 h 62"/>
                <a:gd name="T26" fmla="*/ 16 w 39"/>
                <a:gd name="T27" fmla="*/ 34 h 62"/>
                <a:gd name="T28" fmla="*/ 2 w 39"/>
                <a:gd name="T29" fmla="*/ 17 h 62"/>
                <a:gd name="T30" fmla="*/ 22 w 39"/>
                <a:gd name="T31" fmla="*/ 0 h 62"/>
                <a:gd name="T32" fmla="*/ 39 w 39"/>
                <a:gd name="T33" fmla="*/ 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62">
                  <a:moveTo>
                    <a:pt x="39" y="7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0" y="10"/>
                    <a:pt x="26" y="8"/>
                    <a:pt x="22" y="8"/>
                  </a:cubicBezTo>
                  <a:cubicBezTo>
                    <a:pt x="13" y="8"/>
                    <a:pt x="10" y="13"/>
                    <a:pt x="10" y="17"/>
                  </a:cubicBezTo>
                  <a:cubicBezTo>
                    <a:pt x="10" y="22"/>
                    <a:pt x="14" y="24"/>
                    <a:pt x="19" y="26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5" y="31"/>
                    <a:pt x="39" y="35"/>
                    <a:pt x="39" y="44"/>
                  </a:cubicBezTo>
                  <a:cubicBezTo>
                    <a:pt x="39" y="54"/>
                    <a:pt x="31" y="62"/>
                    <a:pt x="19" y="62"/>
                  </a:cubicBezTo>
                  <a:cubicBezTo>
                    <a:pt x="11" y="62"/>
                    <a:pt x="4" y="59"/>
                    <a:pt x="0" y="54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9" y="52"/>
                    <a:pt x="14" y="54"/>
                    <a:pt x="19" y="54"/>
                  </a:cubicBezTo>
                  <a:cubicBezTo>
                    <a:pt x="25" y="54"/>
                    <a:pt x="31" y="51"/>
                    <a:pt x="31" y="44"/>
                  </a:cubicBezTo>
                  <a:cubicBezTo>
                    <a:pt x="31" y="40"/>
                    <a:pt x="28" y="38"/>
                    <a:pt x="21" y="36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8" y="31"/>
                    <a:pt x="2" y="27"/>
                    <a:pt x="2" y="17"/>
                  </a:cubicBezTo>
                  <a:cubicBezTo>
                    <a:pt x="2" y="9"/>
                    <a:pt x="9" y="0"/>
                    <a:pt x="22" y="0"/>
                  </a:cubicBezTo>
                  <a:cubicBezTo>
                    <a:pt x="30" y="0"/>
                    <a:pt x="35" y="3"/>
                    <a:pt x="3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2012950" y="850900"/>
              <a:ext cx="82550" cy="84138"/>
            </a:xfrm>
            <a:custGeom>
              <a:avLst/>
              <a:gdLst>
                <a:gd name="T0" fmla="*/ 40 w 40"/>
                <a:gd name="T1" fmla="*/ 21 h 41"/>
                <a:gd name="T2" fmla="*/ 40 w 40"/>
                <a:gd name="T3" fmla="*/ 23 h 41"/>
                <a:gd name="T4" fmla="*/ 8 w 40"/>
                <a:gd name="T5" fmla="*/ 23 h 41"/>
                <a:gd name="T6" fmla="*/ 21 w 40"/>
                <a:gd name="T7" fmla="*/ 35 h 41"/>
                <a:gd name="T8" fmla="*/ 32 w 40"/>
                <a:gd name="T9" fmla="*/ 29 h 41"/>
                <a:gd name="T10" fmla="*/ 38 w 40"/>
                <a:gd name="T11" fmla="*/ 33 h 41"/>
                <a:gd name="T12" fmla="*/ 20 w 40"/>
                <a:gd name="T13" fmla="*/ 41 h 41"/>
                <a:gd name="T14" fmla="*/ 0 w 40"/>
                <a:gd name="T15" fmla="*/ 21 h 41"/>
                <a:gd name="T16" fmla="*/ 20 w 40"/>
                <a:gd name="T17" fmla="*/ 0 h 41"/>
                <a:gd name="T18" fmla="*/ 40 w 40"/>
                <a:gd name="T19" fmla="*/ 21 h 41"/>
                <a:gd name="T20" fmla="*/ 32 w 40"/>
                <a:gd name="T21" fmla="*/ 17 h 41"/>
                <a:gd name="T22" fmla="*/ 20 w 40"/>
                <a:gd name="T23" fmla="*/ 6 h 41"/>
                <a:gd name="T24" fmla="*/ 8 w 40"/>
                <a:gd name="T25" fmla="*/ 17 h 41"/>
                <a:gd name="T26" fmla="*/ 32 w 40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40" y="21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5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4" y="39"/>
                    <a:pt x="28" y="41"/>
                    <a:pt x="20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8"/>
                    <a:pt x="40" y="21"/>
                  </a:cubicBezTo>
                  <a:close/>
                  <a:moveTo>
                    <a:pt x="32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2117725" y="850900"/>
              <a:ext cx="47625" cy="82550"/>
            </a:xfrm>
            <a:custGeom>
              <a:avLst/>
              <a:gdLst>
                <a:gd name="T0" fmla="*/ 23 w 23"/>
                <a:gd name="T1" fmla="*/ 1 h 40"/>
                <a:gd name="T2" fmla="*/ 22 w 23"/>
                <a:gd name="T3" fmla="*/ 9 h 40"/>
                <a:gd name="T4" fmla="*/ 19 w 23"/>
                <a:gd name="T5" fmla="*/ 8 h 40"/>
                <a:gd name="T6" fmla="*/ 7 w 23"/>
                <a:gd name="T7" fmla="*/ 20 h 40"/>
                <a:gd name="T8" fmla="*/ 7 w 23"/>
                <a:gd name="T9" fmla="*/ 40 h 40"/>
                <a:gd name="T10" fmla="*/ 0 w 23"/>
                <a:gd name="T11" fmla="*/ 40 h 40"/>
                <a:gd name="T12" fmla="*/ 0 w 23"/>
                <a:gd name="T13" fmla="*/ 1 h 40"/>
                <a:gd name="T14" fmla="*/ 7 w 23"/>
                <a:gd name="T15" fmla="*/ 1 h 40"/>
                <a:gd name="T16" fmla="*/ 7 w 23"/>
                <a:gd name="T17" fmla="*/ 7 h 40"/>
                <a:gd name="T18" fmla="*/ 8 w 23"/>
                <a:gd name="T19" fmla="*/ 7 h 40"/>
                <a:gd name="T20" fmla="*/ 19 w 23"/>
                <a:gd name="T21" fmla="*/ 0 h 40"/>
                <a:gd name="T22" fmla="*/ 23 w 23"/>
                <a:gd name="T2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23" y="1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1" y="8"/>
                    <a:pt x="7" y="12"/>
                    <a:pt x="7" y="2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3"/>
                    <a:pt x="14" y="0"/>
                    <a:pt x="19" y="0"/>
                  </a:cubicBezTo>
                  <a:cubicBezTo>
                    <a:pt x="21" y="0"/>
                    <a:pt x="22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2176463" y="852488"/>
              <a:ext cx="82550" cy="80963"/>
            </a:xfrm>
            <a:custGeom>
              <a:avLst/>
              <a:gdLst>
                <a:gd name="T0" fmla="*/ 12 w 52"/>
                <a:gd name="T1" fmla="*/ 0 h 51"/>
                <a:gd name="T2" fmla="*/ 27 w 52"/>
                <a:gd name="T3" fmla="*/ 39 h 51"/>
                <a:gd name="T4" fmla="*/ 42 w 52"/>
                <a:gd name="T5" fmla="*/ 0 h 51"/>
                <a:gd name="T6" fmla="*/ 52 w 52"/>
                <a:gd name="T7" fmla="*/ 0 h 51"/>
                <a:gd name="T8" fmla="*/ 31 w 52"/>
                <a:gd name="T9" fmla="*/ 51 h 51"/>
                <a:gd name="T10" fmla="*/ 21 w 52"/>
                <a:gd name="T11" fmla="*/ 51 h 51"/>
                <a:gd name="T12" fmla="*/ 0 w 52"/>
                <a:gd name="T13" fmla="*/ 0 h 51"/>
                <a:gd name="T14" fmla="*/ 12 w 52"/>
                <a:gd name="T1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51">
                  <a:moveTo>
                    <a:pt x="12" y="0"/>
                  </a:moveTo>
                  <a:lnTo>
                    <a:pt x="27" y="39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31" y="51"/>
                  </a:lnTo>
                  <a:lnTo>
                    <a:pt x="21" y="51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2274888" y="812800"/>
              <a:ext cx="23812" cy="120650"/>
            </a:xfrm>
            <a:custGeom>
              <a:avLst/>
              <a:gdLst>
                <a:gd name="T0" fmla="*/ 11 w 11"/>
                <a:gd name="T1" fmla="*/ 5 h 58"/>
                <a:gd name="T2" fmla="*/ 5 w 11"/>
                <a:gd name="T3" fmla="*/ 10 h 58"/>
                <a:gd name="T4" fmla="*/ 0 w 11"/>
                <a:gd name="T5" fmla="*/ 5 h 58"/>
                <a:gd name="T6" fmla="*/ 5 w 11"/>
                <a:gd name="T7" fmla="*/ 0 h 58"/>
                <a:gd name="T8" fmla="*/ 11 w 11"/>
                <a:gd name="T9" fmla="*/ 5 h 58"/>
                <a:gd name="T10" fmla="*/ 9 w 11"/>
                <a:gd name="T11" fmla="*/ 19 h 58"/>
                <a:gd name="T12" fmla="*/ 9 w 11"/>
                <a:gd name="T13" fmla="*/ 58 h 58"/>
                <a:gd name="T14" fmla="*/ 1 w 11"/>
                <a:gd name="T15" fmla="*/ 58 h 58"/>
                <a:gd name="T16" fmla="*/ 1 w 11"/>
                <a:gd name="T17" fmla="*/ 19 h 58"/>
                <a:gd name="T18" fmla="*/ 9 w 11"/>
                <a:gd name="T19" fmla="*/ 1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58">
                  <a:moveTo>
                    <a:pt x="11" y="5"/>
                  </a:moveTo>
                  <a:cubicBezTo>
                    <a:pt x="11" y="8"/>
                    <a:pt x="8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lose/>
                  <a:moveTo>
                    <a:pt x="9" y="19"/>
                  </a:moveTo>
                  <a:cubicBezTo>
                    <a:pt x="9" y="58"/>
                    <a:pt x="9" y="58"/>
                    <a:pt x="9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19"/>
                    <a:pt x="1" y="19"/>
                    <a:pt x="1" y="19"/>
                  </a:cubicBezTo>
                  <a:lnTo>
                    <a:pt x="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auto">
            <a:xfrm>
              <a:off x="2319338" y="850900"/>
              <a:ext cx="74612" cy="84138"/>
            </a:xfrm>
            <a:custGeom>
              <a:avLst/>
              <a:gdLst>
                <a:gd name="T0" fmla="*/ 36 w 36"/>
                <a:gd name="T1" fmla="*/ 6 h 41"/>
                <a:gd name="T2" fmla="*/ 30 w 36"/>
                <a:gd name="T3" fmla="*/ 11 h 41"/>
                <a:gd name="T4" fmla="*/ 20 w 36"/>
                <a:gd name="T5" fmla="*/ 7 h 41"/>
                <a:gd name="T6" fmla="*/ 8 w 36"/>
                <a:gd name="T7" fmla="*/ 21 h 41"/>
                <a:gd name="T8" fmla="*/ 21 w 36"/>
                <a:gd name="T9" fmla="*/ 34 h 41"/>
                <a:gd name="T10" fmla="*/ 30 w 36"/>
                <a:gd name="T11" fmla="*/ 30 h 41"/>
                <a:gd name="T12" fmla="*/ 36 w 36"/>
                <a:gd name="T13" fmla="*/ 35 h 41"/>
                <a:gd name="T14" fmla="*/ 21 w 36"/>
                <a:gd name="T15" fmla="*/ 41 h 41"/>
                <a:gd name="T16" fmla="*/ 0 w 36"/>
                <a:gd name="T17" fmla="*/ 21 h 41"/>
                <a:gd name="T18" fmla="*/ 21 w 36"/>
                <a:gd name="T19" fmla="*/ 0 h 41"/>
                <a:gd name="T20" fmla="*/ 36 w 36"/>
                <a:gd name="T21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41">
                  <a:moveTo>
                    <a:pt x="36" y="6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27" y="9"/>
                    <a:pt x="24" y="7"/>
                    <a:pt x="20" y="7"/>
                  </a:cubicBezTo>
                  <a:cubicBezTo>
                    <a:pt x="13" y="7"/>
                    <a:pt x="8" y="13"/>
                    <a:pt x="8" y="21"/>
                  </a:cubicBezTo>
                  <a:cubicBezTo>
                    <a:pt x="8" y="29"/>
                    <a:pt x="13" y="34"/>
                    <a:pt x="21" y="34"/>
                  </a:cubicBezTo>
                  <a:cubicBezTo>
                    <a:pt x="25" y="34"/>
                    <a:pt x="28" y="33"/>
                    <a:pt x="30" y="30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2" y="40"/>
                    <a:pt x="26" y="41"/>
                    <a:pt x="21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26" y="0"/>
                    <a:pt x="32" y="2"/>
                    <a:pt x="3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auto">
            <a:xfrm>
              <a:off x="2406650" y="850900"/>
              <a:ext cx="79375" cy="84138"/>
            </a:xfrm>
            <a:custGeom>
              <a:avLst/>
              <a:gdLst>
                <a:gd name="T0" fmla="*/ 39 w 39"/>
                <a:gd name="T1" fmla="*/ 21 h 41"/>
                <a:gd name="T2" fmla="*/ 39 w 39"/>
                <a:gd name="T3" fmla="*/ 23 h 41"/>
                <a:gd name="T4" fmla="*/ 8 w 39"/>
                <a:gd name="T5" fmla="*/ 23 h 41"/>
                <a:gd name="T6" fmla="*/ 21 w 39"/>
                <a:gd name="T7" fmla="*/ 35 h 41"/>
                <a:gd name="T8" fmla="*/ 32 w 39"/>
                <a:gd name="T9" fmla="*/ 29 h 41"/>
                <a:gd name="T10" fmla="*/ 38 w 39"/>
                <a:gd name="T11" fmla="*/ 33 h 41"/>
                <a:gd name="T12" fmla="*/ 20 w 39"/>
                <a:gd name="T13" fmla="*/ 41 h 41"/>
                <a:gd name="T14" fmla="*/ 0 w 39"/>
                <a:gd name="T15" fmla="*/ 21 h 41"/>
                <a:gd name="T16" fmla="*/ 20 w 39"/>
                <a:gd name="T17" fmla="*/ 0 h 41"/>
                <a:gd name="T18" fmla="*/ 39 w 39"/>
                <a:gd name="T19" fmla="*/ 21 h 41"/>
                <a:gd name="T20" fmla="*/ 31 w 39"/>
                <a:gd name="T21" fmla="*/ 17 h 41"/>
                <a:gd name="T22" fmla="*/ 20 w 39"/>
                <a:gd name="T23" fmla="*/ 6 h 41"/>
                <a:gd name="T24" fmla="*/ 8 w 39"/>
                <a:gd name="T25" fmla="*/ 17 h 41"/>
                <a:gd name="T26" fmla="*/ 31 w 39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1">
                  <a:moveTo>
                    <a:pt x="39" y="21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4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3" y="39"/>
                    <a:pt x="28" y="41"/>
                    <a:pt x="20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39" y="8"/>
                    <a:pt x="39" y="21"/>
                  </a:cubicBezTo>
                  <a:close/>
                  <a:moveTo>
                    <a:pt x="31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9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3515497"/>
            <a:ext cx="2844800" cy="95807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Presenter Titl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539141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TITLE SLIDE HEADLINE COPY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6875" y="2506663"/>
            <a:ext cx="2849563" cy="909637"/>
          </a:xfrm>
        </p:spPr>
        <p:txBody>
          <a:bodyPr vert="horz" lIns="0" tIns="0" rIns="0" bIns="0" rtlCol="0">
            <a:noAutofit/>
          </a:bodyPr>
          <a:lstStyle>
            <a:lvl1pPr marL="169200" indent="-169200">
              <a:buNone/>
              <a:defRPr lang="en-US" sz="1400" b="0" cap="all" spc="0" baseline="0" smtClean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bg-BG">
                <a:solidFill>
                  <a:schemeClr val="bg1"/>
                </a:solidFill>
              </a:defRPr>
            </a:lvl5pPr>
          </a:lstStyle>
          <a:p>
            <a:pPr marL="0" lvl="0" indent="0"/>
            <a:r>
              <a:rPr lang="en-US" dirty="0"/>
              <a:t>OPTIONAL SUB-HEADLINE</a:t>
            </a:r>
          </a:p>
        </p:txBody>
      </p:sp>
    </p:spTree>
    <p:extLst>
      <p:ext uri="{BB962C8B-B14F-4D97-AF65-F5344CB8AC3E}">
        <p14:creationId xmlns:p14="http://schemas.microsoft.com/office/powerpoint/2010/main" val="2696736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5288" y="4960856"/>
            <a:ext cx="3240000" cy="923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grpSp>
        <p:nvGrpSpPr>
          <p:cNvPr id="27" name="Group 26"/>
          <p:cNvGrpSpPr/>
          <p:nvPr/>
        </p:nvGrpSpPr>
        <p:grpSpPr>
          <a:xfrm>
            <a:off x="396875" y="346075"/>
            <a:ext cx="2363787" cy="590550"/>
            <a:chOff x="396875" y="346075"/>
            <a:chExt cx="2363787" cy="590550"/>
          </a:xfrm>
          <a:solidFill>
            <a:schemeClr val="bg1"/>
          </a:solidFill>
        </p:grpSpPr>
        <p:sp>
          <p:nvSpPr>
            <p:cNvPr id="28" name="Freeform 5"/>
            <p:cNvSpPr>
              <a:spLocks noEditPoints="1"/>
            </p:cNvSpPr>
            <p:nvPr/>
          </p:nvSpPr>
          <p:spPr bwMode="auto">
            <a:xfrm>
              <a:off x="396875" y="346075"/>
              <a:ext cx="2363787" cy="360363"/>
            </a:xfrm>
            <a:custGeom>
              <a:avLst/>
              <a:gdLst>
                <a:gd name="T0" fmla="*/ 1015 w 1141"/>
                <a:gd name="T1" fmla="*/ 164 h 174"/>
                <a:gd name="T2" fmla="*/ 1008 w 1141"/>
                <a:gd name="T3" fmla="*/ 148 h 174"/>
                <a:gd name="T4" fmla="*/ 962 w 1141"/>
                <a:gd name="T5" fmla="*/ 149 h 174"/>
                <a:gd name="T6" fmla="*/ 1019 w 1141"/>
                <a:gd name="T7" fmla="*/ 118 h 174"/>
                <a:gd name="T8" fmla="*/ 828 w 1141"/>
                <a:gd name="T9" fmla="*/ 96 h 174"/>
                <a:gd name="T10" fmla="*/ 737 w 1141"/>
                <a:gd name="T11" fmla="*/ 76 h 174"/>
                <a:gd name="T12" fmla="*/ 743 w 1141"/>
                <a:gd name="T13" fmla="*/ 93 h 174"/>
                <a:gd name="T14" fmla="*/ 794 w 1141"/>
                <a:gd name="T15" fmla="*/ 100 h 174"/>
                <a:gd name="T16" fmla="*/ 779 w 1141"/>
                <a:gd name="T17" fmla="*/ 174 h 174"/>
                <a:gd name="T18" fmla="*/ 198 w 1141"/>
                <a:gd name="T19" fmla="*/ 131 h 174"/>
                <a:gd name="T20" fmla="*/ 171 w 1141"/>
                <a:gd name="T21" fmla="*/ 148 h 174"/>
                <a:gd name="T22" fmla="*/ 165 w 1141"/>
                <a:gd name="T23" fmla="*/ 163 h 174"/>
                <a:gd name="T24" fmla="*/ 246 w 1141"/>
                <a:gd name="T25" fmla="*/ 139 h 174"/>
                <a:gd name="T26" fmla="*/ 214 w 1141"/>
                <a:gd name="T27" fmla="*/ 87 h 174"/>
                <a:gd name="T28" fmla="*/ 243 w 1141"/>
                <a:gd name="T29" fmla="*/ 75 h 174"/>
                <a:gd name="T30" fmla="*/ 165 w 1141"/>
                <a:gd name="T31" fmla="*/ 98 h 174"/>
                <a:gd name="T32" fmla="*/ 41 w 1141"/>
                <a:gd name="T33" fmla="*/ 72 h 174"/>
                <a:gd name="T34" fmla="*/ 66 w 1141"/>
                <a:gd name="T35" fmla="*/ 0 h 174"/>
                <a:gd name="T36" fmla="*/ 794 w 1141"/>
                <a:gd name="T37" fmla="*/ 152 h 174"/>
                <a:gd name="T38" fmla="*/ 794 w 1141"/>
                <a:gd name="T39" fmla="*/ 123 h 174"/>
                <a:gd name="T40" fmla="*/ 954 w 1141"/>
                <a:gd name="T41" fmla="*/ 98 h 174"/>
                <a:gd name="T42" fmla="*/ 987 w 1141"/>
                <a:gd name="T43" fmla="*/ 114 h 174"/>
                <a:gd name="T44" fmla="*/ 653 w 1141"/>
                <a:gd name="T45" fmla="*/ 151 h 174"/>
                <a:gd name="T46" fmla="*/ 619 w 1141"/>
                <a:gd name="T47" fmla="*/ 71 h 174"/>
                <a:gd name="T48" fmla="*/ 590 w 1141"/>
                <a:gd name="T49" fmla="*/ 71 h 174"/>
                <a:gd name="T50" fmla="*/ 502 w 1141"/>
                <a:gd name="T51" fmla="*/ 33 h 174"/>
                <a:gd name="T52" fmla="*/ 471 w 1141"/>
                <a:gd name="T53" fmla="*/ 68 h 174"/>
                <a:gd name="T54" fmla="*/ 437 w 1141"/>
                <a:gd name="T55" fmla="*/ 46 h 174"/>
                <a:gd name="T56" fmla="*/ 452 w 1141"/>
                <a:gd name="T57" fmla="*/ 45 h 174"/>
                <a:gd name="T58" fmla="*/ 426 w 1141"/>
                <a:gd name="T59" fmla="*/ 23 h 174"/>
                <a:gd name="T60" fmla="*/ 373 w 1141"/>
                <a:gd name="T61" fmla="*/ 71 h 174"/>
                <a:gd name="T62" fmla="*/ 391 w 1141"/>
                <a:gd name="T63" fmla="*/ 169 h 174"/>
                <a:gd name="T64" fmla="*/ 425 w 1141"/>
                <a:gd name="T65" fmla="*/ 91 h 174"/>
                <a:gd name="T66" fmla="*/ 533 w 1141"/>
                <a:gd name="T67" fmla="*/ 169 h 174"/>
                <a:gd name="T68" fmla="*/ 531 w 1141"/>
                <a:gd name="T69" fmla="*/ 148 h 174"/>
                <a:gd name="T70" fmla="*/ 505 w 1141"/>
                <a:gd name="T71" fmla="*/ 137 h 174"/>
                <a:gd name="T72" fmla="*/ 573 w 1141"/>
                <a:gd name="T73" fmla="*/ 170 h 174"/>
                <a:gd name="T74" fmla="*/ 715 w 1141"/>
                <a:gd name="T75" fmla="*/ 144 h 174"/>
                <a:gd name="T76" fmla="*/ 682 w 1141"/>
                <a:gd name="T77" fmla="*/ 71 h 174"/>
                <a:gd name="T78" fmla="*/ 908 w 1141"/>
                <a:gd name="T79" fmla="*/ 66 h 174"/>
                <a:gd name="T80" fmla="*/ 852 w 1141"/>
                <a:gd name="T81" fmla="*/ 169 h 174"/>
                <a:gd name="T82" fmla="*/ 886 w 1141"/>
                <a:gd name="T83" fmla="*/ 92 h 174"/>
                <a:gd name="T84" fmla="*/ 313 w 1141"/>
                <a:gd name="T85" fmla="*/ 174 h 174"/>
                <a:gd name="T86" fmla="*/ 296 w 1141"/>
                <a:gd name="T87" fmla="*/ 120 h 174"/>
                <a:gd name="T88" fmla="*/ 296 w 1141"/>
                <a:gd name="T89" fmla="*/ 120 h 174"/>
                <a:gd name="T90" fmla="*/ 1064 w 1141"/>
                <a:gd name="T91" fmla="*/ 92 h 174"/>
                <a:gd name="T92" fmla="*/ 1125 w 1141"/>
                <a:gd name="T93" fmla="*/ 106 h 174"/>
                <a:gd name="T94" fmla="*/ 1138 w 1141"/>
                <a:gd name="T95" fmla="*/ 76 h 174"/>
                <a:gd name="T96" fmla="*/ 1141 w 1141"/>
                <a:gd name="T97" fmla="*/ 71 h 174"/>
                <a:gd name="T98" fmla="*/ 1125 w 1141"/>
                <a:gd name="T99" fmla="*/ 113 h 174"/>
                <a:gd name="T100" fmla="*/ 1141 w 1141"/>
                <a:gd name="T101" fmla="*/ 88 h 174"/>
                <a:gd name="T102" fmla="*/ 1123 w 1141"/>
                <a:gd name="T103" fmla="*/ 94 h 174"/>
                <a:gd name="T104" fmla="*/ 1062 w 1141"/>
                <a:gd name="T105" fmla="*/ 68 h 174"/>
                <a:gd name="T106" fmla="*/ 1048 w 1141"/>
                <a:gd name="T107" fmla="*/ 112 h 174"/>
                <a:gd name="T108" fmla="*/ 1080 w 1141"/>
                <a:gd name="T109" fmla="*/ 99 h 174"/>
                <a:gd name="T110" fmla="*/ 1094 w 1141"/>
                <a:gd name="T111" fmla="*/ 112 h 174"/>
                <a:gd name="T112" fmla="*/ 70 w 1141"/>
                <a:gd name="T113" fmla="*/ 68 h 174"/>
                <a:gd name="T114" fmla="*/ 21 w 1141"/>
                <a:gd name="T115" fmla="*/ 172 h 174"/>
                <a:gd name="T116" fmla="*/ 70 w 1141"/>
                <a:gd name="T117" fmla="*/ 6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1" h="174">
                  <a:moveTo>
                    <a:pt x="919" y="120"/>
                  </a:moveTo>
                  <a:cubicBezTo>
                    <a:pt x="919" y="160"/>
                    <a:pt x="937" y="174"/>
                    <a:pt x="975" y="174"/>
                  </a:cubicBezTo>
                  <a:cubicBezTo>
                    <a:pt x="992" y="174"/>
                    <a:pt x="1006" y="169"/>
                    <a:pt x="1012" y="167"/>
                  </a:cubicBezTo>
                  <a:cubicBezTo>
                    <a:pt x="1014" y="167"/>
                    <a:pt x="1015" y="165"/>
                    <a:pt x="1015" y="164"/>
                  </a:cubicBezTo>
                  <a:cubicBezTo>
                    <a:pt x="1015" y="163"/>
                    <a:pt x="1015" y="163"/>
                    <a:pt x="1015" y="162"/>
                  </a:cubicBezTo>
                  <a:cubicBezTo>
                    <a:pt x="1012" y="151"/>
                    <a:pt x="1012" y="151"/>
                    <a:pt x="1012" y="151"/>
                  </a:cubicBezTo>
                  <a:cubicBezTo>
                    <a:pt x="1012" y="151"/>
                    <a:pt x="1012" y="151"/>
                    <a:pt x="1012" y="151"/>
                  </a:cubicBezTo>
                  <a:cubicBezTo>
                    <a:pt x="1011" y="148"/>
                    <a:pt x="1010" y="148"/>
                    <a:pt x="1008" y="148"/>
                  </a:cubicBezTo>
                  <a:cubicBezTo>
                    <a:pt x="1008" y="148"/>
                    <a:pt x="1007" y="148"/>
                    <a:pt x="1006" y="148"/>
                  </a:cubicBezTo>
                  <a:cubicBezTo>
                    <a:pt x="1006" y="148"/>
                    <a:pt x="1006" y="148"/>
                    <a:pt x="1006" y="148"/>
                  </a:cubicBezTo>
                  <a:cubicBezTo>
                    <a:pt x="1001" y="150"/>
                    <a:pt x="992" y="152"/>
                    <a:pt x="981" y="152"/>
                  </a:cubicBezTo>
                  <a:cubicBezTo>
                    <a:pt x="973" y="152"/>
                    <a:pt x="966" y="151"/>
                    <a:pt x="962" y="149"/>
                  </a:cubicBezTo>
                  <a:cubicBezTo>
                    <a:pt x="957" y="146"/>
                    <a:pt x="954" y="141"/>
                    <a:pt x="954" y="133"/>
                  </a:cubicBezTo>
                  <a:cubicBezTo>
                    <a:pt x="1015" y="133"/>
                    <a:pt x="1015" y="133"/>
                    <a:pt x="1015" y="133"/>
                  </a:cubicBezTo>
                  <a:cubicBezTo>
                    <a:pt x="1019" y="133"/>
                    <a:pt x="1019" y="130"/>
                    <a:pt x="1019" y="127"/>
                  </a:cubicBezTo>
                  <a:cubicBezTo>
                    <a:pt x="1019" y="118"/>
                    <a:pt x="1019" y="118"/>
                    <a:pt x="1019" y="118"/>
                  </a:cubicBezTo>
                  <a:cubicBezTo>
                    <a:pt x="1019" y="100"/>
                    <a:pt x="1016" y="86"/>
                    <a:pt x="1009" y="78"/>
                  </a:cubicBezTo>
                  <a:cubicBezTo>
                    <a:pt x="1001" y="70"/>
                    <a:pt x="988" y="66"/>
                    <a:pt x="970" y="66"/>
                  </a:cubicBezTo>
                  <a:cubicBezTo>
                    <a:pt x="932" y="66"/>
                    <a:pt x="919" y="80"/>
                    <a:pt x="919" y="120"/>
                  </a:cubicBezTo>
                  <a:moveTo>
                    <a:pt x="828" y="96"/>
                  </a:moveTo>
                  <a:cubicBezTo>
                    <a:pt x="828" y="85"/>
                    <a:pt x="824" y="77"/>
                    <a:pt x="815" y="71"/>
                  </a:cubicBezTo>
                  <a:cubicBezTo>
                    <a:pt x="808" y="67"/>
                    <a:pt x="798" y="66"/>
                    <a:pt x="784" y="66"/>
                  </a:cubicBezTo>
                  <a:cubicBezTo>
                    <a:pt x="763" y="66"/>
                    <a:pt x="743" y="71"/>
                    <a:pt x="740" y="73"/>
                  </a:cubicBezTo>
                  <a:cubicBezTo>
                    <a:pt x="738" y="73"/>
                    <a:pt x="737" y="74"/>
                    <a:pt x="737" y="76"/>
                  </a:cubicBezTo>
                  <a:cubicBezTo>
                    <a:pt x="737" y="76"/>
                    <a:pt x="737" y="76"/>
                    <a:pt x="737" y="76"/>
                  </a:cubicBezTo>
                  <a:cubicBezTo>
                    <a:pt x="737" y="76"/>
                    <a:pt x="737" y="77"/>
                    <a:pt x="737" y="77"/>
                  </a:cubicBezTo>
                  <a:cubicBezTo>
                    <a:pt x="741" y="92"/>
                    <a:pt x="741" y="92"/>
                    <a:pt x="741" y="92"/>
                  </a:cubicBezTo>
                  <a:cubicBezTo>
                    <a:pt x="741" y="93"/>
                    <a:pt x="742" y="93"/>
                    <a:pt x="743" y="93"/>
                  </a:cubicBezTo>
                  <a:cubicBezTo>
                    <a:pt x="743" y="93"/>
                    <a:pt x="743" y="93"/>
                    <a:pt x="744" y="93"/>
                  </a:cubicBezTo>
                  <a:cubicBezTo>
                    <a:pt x="748" y="92"/>
                    <a:pt x="764" y="88"/>
                    <a:pt x="776" y="88"/>
                  </a:cubicBezTo>
                  <a:cubicBezTo>
                    <a:pt x="783" y="88"/>
                    <a:pt x="787" y="88"/>
                    <a:pt x="790" y="89"/>
                  </a:cubicBezTo>
                  <a:cubicBezTo>
                    <a:pt x="793" y="91"/>
                    <a:pt x="794" y="94"/>
                    <a:pt x="794" y="100"/>
                  </a:cubicBezTo>
                  <a:cubicBezTo>
                    <a:pt x="794" y="104"/>
                    <a:pt x="794" y="104"/>
                    <a:pt x="794" y="104"/>
                  </a:cubicBezTo>
                  <a:cubicBezTo>
                    <a:pt x="760" y="109"/>
                    <a:pt x="760" y="109"/>
                    <a:pt x="760" y="109"/>
                  </a:cubicBezTo>
                  <a:cubicBezTo>
                    <a:pt x="747" y="111"/>
                    <a:pt x="731" y="115"/>
                    <a:pt x="731" y="140"/>
                  </a:cubicBezTo>
                  <a:cubicBezTo>
                    <a:pt x="731" y="170"/>
                    <a:pt x="755" y="174"/>
                    <a:pt x="779" y="174"/>
                  </a:cubicBezTo>
                  <a:cubicBezTo>
                    <a:pt x="791" y="174"/>
                    <a:pt x="800" y="173"/>
                    <a:pt x="808" y="171"/>
                  </a:cubicBezTo>
                  <a:cubicBezTo>
                    <a:pt x="821" y="168"/>
                    <a:pt x="828" y="166"/>
                    <a:pt x="828" y="151"/>
                  </a:cubicBezTo>
                  <a:lnTo>
                    <a:pt x="828" y="96"/>
                  </a:lnTo>
                  <a:close/>
                  <a:moveTo>
                    <a:pt x="198" y="131"/>
                  </a:moveTo>
                  <a:cubicBezTo>
                    <a:pt x="208" y="133"/>
                    <a:pt x="212" y="134"/>
                    <a:pt x="212" y="142"/>
                  </a:cubicBezTo>
                  <a:cubicBezTo>
                    <a:pt x="212" y="150"/>
                    <a:pt x="205" y="152"/>
                    <a:pt x="198" y="152"/>
                  </a:cubicBezTo>
                  <a:cubicBezTo>
                    <a:pt x="188" y="152"/>
                    <a:pt x="176" y="149"/>
                    <a:pt x="171" y="148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70" y="148"/>
                    <a:pt x="169" y="148"/>
                    <a:pt x="169" y="148"/>
                  </a:cubicBezTo>
                  <a:cubicBezTo>
                    <a:pt x="168" y="148"/>
                    <a:pt x="167" y="148"/>
                    <a:pt x="167" y="150"/>
                  </a:cubicBezTo>
                  <a:cubicBezTo>
                    <a:pt x="165" y="163"/>
                    <a:pt x="165" y="163"/>
                    <a:pt x="165" y="163"/>
                  </a:cubicBezTo>
                  <a:cubicBezTo>
                    <a:pt x="164" y="164"/>
                    <a:pt x="164" y="165"/>
                    <a:pt x="164" y="165"/>
                  </a:cubicBezTo>
                  <a:cubicBezTo>
                    <a:pt x="164" y="167"/>
                    <a:pt x="165" y="167"/>
                    <a:pt x="166" y="168"/>
                  </a:cubicBezTo>
                  <a:cubicBezTo>
                    <a:pt x="170" y="170"/>
                    <a:pt x="186" y="174"/>
                    <a:pt x="203" y="174"/>
                  </a:cubicBezTo>
                  <a:cubicBezTo>
                    <a:pt x="227" y="174"/>
                    <a:pt x="246" y="165"/>
                    <a:pt x="246" y="139"/>
                  </a:cubicBezTo>
                  <a:cubicBezTo>
                    <a:pt x="246" y="115"/>
                    <a:pt x="232" y="110"/>
                    <a:pt x="218" y="108"/>
                  </a:cubicBezTo>
                  <a:cubicBezTo>
                    <a:pt x="215" y="107"/>
                    <a:pt x="215" y="107"/>
                    <a:pt x="215" y="107"/>
                  </a:cubicBezTo>
                  <a:cubicBezTo>
                    <a:pt x="207" y="106"/>
                    <a:pt x="200" y="104"/>
                    <a:pt x="200" y="96"/>
                  </a:cubicBezTo>
                  <a:cubicBezTo>
                    <a:pt x="200" y="88"/>
                    <a:pt x="208" y="87"/>
                    <a:pt x="214" y="87"/>
                  </a:cubicBezTo>
                  <a:cubicBezTo>
                    <a:pt x="222" y="87"/>
                    <a:pt x="230" y="88"/>
                    <a:pt x="234" y="89"/>
                  </a:cubicBezTo>
                  <a:cubicBezTo>
                    <a:pt x="236" y="90"/>
                    <a:pt x="237" y="90"/>
                    <a:pt x="238" y="90"/>
                  </a:cubicBezTo>
                  <a:cubicBezTo>
                    <a:pt x="239" y="90"/>
                    <a:pt x="240" y="89"/>
                    <a:pt x="240" y="88"/>
                  </a:cubicBezTo>
                  <a:cubicBezTo>
                    <a:pt x="241" y="83"/>
                    <a:pt x="242" y="79"/>
                    <a:pt x="243" y="75"/>
                  </a:cubicBezTo>
                  <a:cubicBezTo>
                    <a:pt x="243" y="75"/>
                    <a:pt x="243" y="74"/>
                    <a:pt x="243" y="73"/>
                  </a:cubicBezTo>
                  <a:cubicBezTo>
                    <a:pt x="243" y="71"/>
                    <a:pt x="242" y="70"/>
                    <a:pt x="239" y="69"/>
                  </a:cubicBezTo>
                  <a:cubicBezTo>
                    <a:pt x="234" y="68"/>
                    <a:pt x="222" y="66"/>
                    <a:pt x="209" y="66"/>
                  </a:cubicBezTo>
                  <a:cubicBezTo>
                    <a:pt x="191" y="66"/>
                    <a:pt x="165" y="68"/>
                    <a:pt x="165" y="98"/>
                  </a:cubicBezTo>
                  <a:cubicBezTo>
                    <a:pt x="165" y="124"/>
                    <a:pt x="183" y="128"/>
                    <a:pt x="196" y="131"/>
                  </a:cubicBezTo>
                  <a:lnTo>
                    <a:pt x="198" y="131"/>
                  </a:lnTo>
                  <a:close/>
                  <a:moveTo>
                    <a:pt x="41" y="106"/>
                  </a:moveTo>
                  <a:cubicBezTo>
                    <a:pt x="41" y="72"/>
                    <a:pt x="41" y="72"/>
                    <a:pt x="41" y="72"/>
                  </a:cubicBezTo>
                  <a:cubicBezTo>
                    <a:pt x="41" y="50"/>
                    <a:pt x="50" y="40"/>
                    <a:pt x="70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6" y="0"/>
                    <a:pt x="0" y="29"/>
                    <a:pt x="0" y="69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41" y="106"/>
                  </a:lnTo>
                  <a:close/>
                  <a:moveTo>
                    <a:pt x="794" y="152"/>
                  </a:moveTo>
                  <a:cubicBezTo>
                    <a:pt x="793" y="152"/>
                    <a:pt x="787" y="153"/>
                    <a:pt x="780" y="153"/>
                  </a:cubicBezTo>
                  <a:cubicBezTo>
                    <a:pt x="773" y="153"/>
                    <a:pt x="763" y="152"/>
                    <a:pt x="763" y="139"/>
                  </a:cubicBezTo>
                  <a:cubicBezTo>
                    <a:pt x="763" y="128"/>
                    <a:pt x="769" y="127"/>
                    <a:pt x="776" y="126"/>
                  </a:cubicBezTo>
                  <a:cubicBezTo>
                    <a:pt x="794" y="123"/>
                    <a:pt x="794" y="123"/>
                    <a:pt x="794" y="123"/>
                  </a:cubicBezTo>
                  <a:lnTo>
                    <a:pt x="794" y="152"/>
                  </a:lnTo>
                  <a:close/>
                  <a:moveTo>
                    <a:pt x="953" y="114"/>
                  </a:moveTo>
                  <a:cubicBezTo>
                    <a:pt x="953" y="112"/>
                    <a:pt x="953" y="112"/>
                    <a:pt x="953" y="112"/>
                  </a:cubicBezTo>
                  <a:cubicBezTo>
                    <a:pt x="953" y="109"/>
                    <a:pt x="953" y="103"/>
                    <a:pt x="954" y="98"/>
                  </a:cubicBezTo>
                  <a:cubicBezTo>
                    <a:pt x="956" y="92"/>
                    <a:pt x="959" y="87"/>
                    <a:pt x="970" y="87"/>
                  </a:cubicBezTo>
                  <a:cubicBezTo>
                    <a:pt x="979" y="87"/>
                    <a:pt x="984" y="91"/>
                    <a:pt x="986" y="97"/>
                  </a:cubicBezTo>
                  <a:cubicBezTo>
                    <a:pt x="987" y="101"/>
                    <a:pt x="987" y="107"/>
                    <a:pt x="987" y="111"/>
                  </a:cubicBezTo>
                  <a:cubicBezTo>
                    <a:pt x="987" y="114"/>
                    <a:pt x="987" y="114"/>
                    <a:pt x="987" y="114"/>
                  </a:cubicBezTo>
                  <a:lnTo>
                    <a:pt x="953" y="114"/>
                  </a:lnTo>
                  <a:close/>
                  <a:moveTo>
                    <a:pt x="682" y="139"/>
                  </a:moveTo>
                  <a:cubicBezTo>
                    <a:pt x="682" y="150"/>
                    <a:pt x="675" y="153"/>
                    <a:pt x="667" y="153"/>
                  </a:cubicBezTo>
                  <a:cubicBezTo>
                    <a:pt x="660" y="153"/>
                    <a:pt x="653" y="151"/>
                    <a:pt x="653" y="151"/>
                  </a:cubicBezTo>
                  <a:cubicBezTo>
                    <a:pt x="653" y="71"/>
                    <a:pt x="653" y="71"/>
                    <a:pt x="653" y="71"/>
                  </a:cubicBezTo>
                  <a:cubicBezTo>
                    <a:pt x="653" y="69"/>
                    <a:pt x="652" y="68"/>
                    <a:pt x="650" y="68"/>
                  </a:cubicBezTo>
                  <a:cubicBezTo>
                    <a:pt x="621" y="68"/>
                    <a:pt x="621" y="68"/>
                    <a:pt x="621" y="68"/>
                  </a:cubicBezTo>
                  <a:cubicBezTo>
                    <a:pt x="620" y="68"/>
                    <a:pt x="619" y="69"/>
                    <a:pt x="619" y="71"/>
                  </a:cubicBezTo>
                  <a:cubicBezTo>
                    <a:pt x="619" y="139"/>
                    <a:pt x="619" y="139"/>
                    <a:pt x="619" y="139"/>
                  </a:cubicBezTo>
                  <a:cubicBezTo>
                    <a:pt x="619" y="150"/>
                    <a:pt x="615" y="153"/>
                    <a:pt x="607" y="153"/>
                  </a:cubicBezTo>
                  <a:cubicBezTo>
                    <a:pt x="600" y="153"/>
                    <a:pt x="590" y="151"/>
                    <a:pt x="590" y="151"/>
                  </a:cubicBezTo>
                  <a:cubicBezTo>
                    <a:pt x="590" y="71"/>
                    <a:pt x="590" y="71"/>
                    <a:pt x="590" y="71"/>
                  </a:cubicBezTo>
                  <a:cubicBezTo>
                    <a:pt x="590" y="69"/>
                    <a:pt x="589" y="68"/>
                    <a:pt x="587" y="68"/>
                  </a:cubicBezTo>
                  <a:cubicBezTo>
                    <a:pt x="505" y="68"/>
                    <a:pt x="505" y="68"/>
                    <a:pt x="505" y="68"/>
                  </a:cubicBezTo>
                  <a:cubicBezTo>
                    <a:pt x="505" y="36"/>
                    <a:pt x="505" y="36"/>
                    <a:pt x="505" y="36"/>
                  </a:cubicBezTo>
                  <a:cubicBezTo>
                    <a:pt x="505" y="34"/>
                    <a:pt x="504" y="33"/>
                    <a:pt x="502" y="33"/>
                  </a:cubicBezTo>
                  <a:cubicBezTo>
                    <a:pt x="501" y="33"/>
                    <a:pt x="500" y="33"/>
                    <a:pt x="500" y="33"/>
                  </a:cubicBezTo>
                  <a:cubicBezTo>
                    <a:pt x="475" y="37"/>
                    <a:pt x="475" y="37"/>
                    <a:pt x="475" y="37"/>
                  </a:cubicBezTo>
                  <a:cubicBezTo>
                    <a:pt x="472" y="38"/>
                    <a:pt x="471" y="40"/>
                    <a:pt x="471" y="42"/>
                  </a:cubicBezTo>
                  <a:cubicBezTo>
                    <a:pt x="471" y="68"/>
                    <a:pt x="471" y="68"/>
                    <a:pt x="471" y="68"/>
                  </a:cubicBezTo>
                  <a:cubicBezTo>
                    <a:pt x="425" y="68"/>
                    <a:pt x="425" y="68"/>
                    <a:pt x="425" y="68"/>
                  </a:cubicBezTo>
                  <a:cubicBezTo>
                    <a:pt x="425" y="57"/>
                    <a:pt x="425" y="57"/>
                    <a:pt x="425" y="57"/>
                  </a:cubicBezTo>
                  <a:cubicBezTo>
                    <a:pt x="425" y="53"/>
                    <a:pt x="426" y="50"/>
                    <a:pt x="427" y="49"/>
                  </a:cubicBezTo>
                  <a:cubicBezTo>
                    <a:pt x="430" y="47"/>
                    <a:pt x="432" y="46"/>
                    <a:pt x="437" y="46"/>
                  </a:cubicBezTo>
                  <a:cubicBezTo>
                    <a:pt x="440" y="46"/>
                    <a:pt x="445" y="47"/>
                    <a:pt x="447" y="47"/>
                  </a:cubicBezTo>
                  <a:cubicBezTo>
                    <a:pt x="447" y="47"/>
                    <a:pt x="448" y="47"/>
                    <a:pt x="448" y="47"/>
                  </a:cubicBezTo>
                  <a:cubicBezTo>
                    <a:pt x="449" y="48"/>
                    <a:pt x="450" y="48"/>
                    <a:pt x="451" y="48"/>
                  </a:cubicBezTo>
                  <a:cubicBezTo>
                    <a:pt x="452" y="48"/>
                    <a:pt x="452" y="47"/>
                    <a:pt x="452" y="45"/>
                  </a:cubicBezTo>
                  <a:cubicBezTo>
                    <a:pt x="455" y="31"/>
                    <a:pt x="455" y="31"/>
                    <a:pt x="455" y="31"/>
                  </a:cubicBezTo>
                  <a:cubicBezTo>
                    <a:pt x="455" y="31"/>
                    <a:pt x="455" y="30"/>
                    <a:pt x="455" y="29"/>
                  </a:cubicBezTo>
                  <a:cubicBezTo>
                    <a:pt x="455" y="28"/>
                    <a:pt x="454" y="27"/>
                    <a:pt x="453" y="26"/>
                  </a:cubicBezTo>
                  <a:cubicBezTo>
                    <a:pt x="450" y="26"/>
                    <a:pt x="441" y="23"/>
                    <a:pt x="426" y="23"/>
                  </a:cubicBezTo>
                  <a:cubicBezTo>
                    <a:pt x="402" y="23"/>
                    <a:pt x="391" y="34"/>
                    <a:pt x="391" y="55"/>
                  </a:cubicBezTo>
                  <a:cubicBezTo>
                    <a:pt x="391" y="68"/>
                    <a:pt x="391" y="68"/>
                    <a:pt x="391" y="68"/>
                  </a:cubicBezTo>
                  <a:cubicBezTo>
                    <a:pt x="376" y="68"/>
                    <a:pt x="376" y="68"/>
                    <a:pt x="376" y="68"/>
                  </a:cubicBezTo>
                  <a:cubicBezTo>
                    <a:pt x="374" y="68"/>
                    <a:pt x="373" y="69"/>
                    <a:pt x="373" y="71"/>
                  </a:cubicBezTo>
                  <a:cubicBezTo>
                    <a:pt x="373" y="89"/>
                    <a:pt x="373" y="89"/>
                    <a:pt x="373" y="89"/>
                  </a:cubicBezTo>
                  <a:cubicBezTo>
                    <a:pt x="373" y="90"/>
                    <a:pt x="374" y="91"/>
                    <a:pt x="376" y="91"/>
                  </a:cubicBezTo>
                  <a:cubicBezTo>
                    <a:pt x="391" y="91"/>
                    <a:pt x="391" y="91"/>
                    <a:pt x="391" y="91"/>
                  </a:cubicBezTo>
                  <a:cubicBezTo>
                    <a:pt x="391" y="169"/>
                    <a:pt x="391" y="169"/>
                    <a:pt x="391" y="169"/>
                  </a:cubicBezTo>
                  <a:cubicBezTo>
                    <a:pt x="391" y="170"/>
                    <a:pt x="392" y="171"/>
                    <a:pt x="393" y="171"/>
                  </a:cubicBezTo>
                  <a:cubicBezTo>
                    <a:pt x="422" y="171"/>
                    <a:pt x="422" y="171"/>
                    <a:pt x="422" y="171"/>
                  </a:cubicBezTo>
                  <a:cubicBezTo>
                    <a:pt x="424" y="171"/>
                    <a:pt x="425" y="170"/>
                    <a:pt x="425" y="169"/>
                  </a:cubicBezTo>
                  <a:cubicBezTo>
                    <a:pt x="425" y="91"/>
                    <a:pt x="425" y="91"/>
                    <a:pt x="425" y="91"/>
                  </a:cubicBezTo>
                  <a:cubicBezTo>
                    <a:pt x="471" y="91"/>
                    <a:pt x="471" y="91"/>
                    <a:pt x="471" y="91"/>
                  </a:cubicBezTo>
                  <a:cubicBezTo>
                    <a:pt x="471" y="139"/>
                    <a:pt x="471" y="139"/>
                    <a:pt x="471" y="139"/>
                  </a:cubicBezTo>
                  <a:cubicBezTo>
                    <a:pt x="471" y="164"/>
                    <a:pt x="484" y="173"/>
                    <a:pt x="508" y="173"/>
                  </a:cubicBezTo>
                  <a:cubicBezTo>
                    <a:pt x="522" y="173"/>
                    <a:pt x="531" y="170"/>
                    <a:pt x="533" y="169"/>
                  </a:cubicBezTo>
                  <a:cubicBezTo>
                    <a:pt x="535" y="169"/>
                    <a:pt x="536" y="168"/>
                    <a:pt x="536" y="166"/>
                  </a:cubicBezTo>
                  <a:cubicBezTo>
                    <a:pt x="536" y="165"/>
                    <a:pt x="536" y="164"/>
                    <a:pt x="536" y="164"/>
                  </a:cubicBezTo>
                  <a:cubicBezTo>
                    <a:pt x="533" y="150"/>
                    <a:pt x="533" y="150"/>
                    <a:pt x="533" y="150"/>
                  </a:cubicBezTo>
                  <a:cubicBezTo>
                    <a:pt x="532" y="149"/>
                    <a:pt x="532" y="148"/>
                    <a:pt x="531" y="148"/>
                  </a:cubicBezTo>
                  <a:cubicBezTo>
                    <a:pt x="531" y="148"/>
                    <a:pt x="530" y="148"/>
                    <a:pt x="529" y="148"/>
                  </a:cubicBezTo>
                  <a:cubicBezTo>
                    <a:pt x="529" y="148"/>
                    <a:pt x="529" y="148"/>
                    <a:pt x="528" y="148"/>
                  </a:cubicBezTo>
                  <a:cubicBezTo>
                    <a:pt x="526" y="149"/>
                    <a:pt x="522" y="149"/>
                    <a:pt x="517" y="149"/>
                  </a:cubicBezTo>
                  <a:cubicBezTo>
                    <a:pt x="507" y="149"/>
                    <a:pt x="505" y="144"/>
                    <a:pt x="505" y="137"/>
                  </a:cubicBezTo>
                  <a:cubicBezTo>
                    <a:pt x="505" y="92"/>
                    <a:pt x="505" y="92"/>
                    <a:pt x="505" y="92"/>
                  </a:cubicBezTo>
                  <a:cubicBezTo>
                    <a:pt x="556" y="92"/>
                    <a:pt x="556" y="92"/>
                    <a:pt x="556" y="92"/>
                  </a:cubicBezTo>
                  <a:cubicBezTo>
                    <a:pt x="556" y="159"/>
                    <a:pt x="556" y="159"/>
                    <a:pt x="556" y="159"/>
                  </a:cubicBezTo>
                  <a:cubicBezTo>
                    <a:pt x="556" y="165"/>
                    <a:pt x="562" y="168"/>
                    <a:pt x="573" y="170"/>
                  </a:cubicBezTo>
                  <a:cubicBezTo>
                    <a:pt x="582" y="172"/>
                    <a:pt x="594" y="174"/>
                    <a:pt x="604" y="174"/>
                  </a:cubicBezTo>
                  <a:cubicBezTo>
                    <a:pt x="616" y="174"/>
                    <a:pt x="628" y="172"/>
                    <a:pt x="637" y="165"/>
                  </a:cubicBezTo>
                  <a:cubicBezTo>
                    <a:pt x="649" y="172"/>
                    <a:pt x="662" y="174"/>
                    <a:pt x="675" y="174"/>
                  </a:cubicBezTo>
                  <a:cubicBezTo>
                    <a:pt x="699" y="174"/>
                    <a:pt x="715" y="168"/>
                    <a:pt x="715" y="144"/>
                  </a:cubicBezTo>
                  <a:cubicBezTo>
                    <a:pt x="715" y="71"/>
                    <a:pt x="715" y="71"/>
                    <a:pt x="715" y="71"/>
                  </a:cubicBezTo>
                  <a:cubicBezTo>
                    <a:pt x="715" y="69"/>
                    <a:pt x="714" y="68"/>
                    <a:pt x="713" y="68"/>
                  </a:cubicBezTo>
                  <a:cubicBezTo>
                    <a:pt x="684" y="68"/>
                    <a:pt x="684" y="68"/>
                    <a:pt x="684" y="68"/>
                  </a:cubicBezTo>
                  <a:cubicBezTo>
                    <a:pt x="683" y="68"/>
                    <a:pt x="682" y="69"/>
                    <a:pt x="682" y="71"/>
                  </a:cubicBezTo>
                  <a:lnTo>
                    <a:pt x="682" y="139"/>
                  </a:lnTo>
                  <a:close/>
                  <a:moveTo>
                    <a:pt x="912" y="86"/>
                  </a:moveTo>
                  <a:cubicBezTo>
                    <a:pt x="912" y="70"/>
                    <a:pt x="912" y="70"/>
                    <a:pt x="912" y="70"/>
                  </a:cubicBezTo>
                  <a:cubicBezTo>
                    <a:pt x="912" y="67"/>
                    <a:pt x="911" y="66"/>
                    <a:pt x="908" y="66"/>
                  </a:cubicBezTo>
                  <a:cubicBezTo>
                    <a:pt x="905" y="66"/>
                    <a:pt x="905" y="66"/>
                    <a:pt x="905" y="66"/>
                  </a:cubicBezTo>
                  <a:cubicBezTo>
                    <a:pt x="893" y="66"/>
                    <a:pt x="879" y="67"/>
                    <a:pt x="870" y="69"/>
                  </a:cubicBezTo>
                  <a:cubicBezTo>
                    <a:pt x="858" y="72"/>
                    <a:pt x="852" y="74"/>
                    <a:pt x="852" y="81"/>
                  </a:cubicBezTo>
                  <a:cubicBezTo>
                    <a:pt x="852" y="169"/>
                    <a:pt x="852" y="169"/>
                    <a:pt x="852" y="169"/>
                  </a:cubicBezTo>
                  <a:cubicBezTo>
                    <a:pt x="852" y="170"/>
                    <a:pt x="853" y="171"/>
                    <a:pt x="855" y="171"/>
                  </a:cubicBezTo>
                  <a:cubicBezTo>
                    <a:pt x="884" y="171"/>
                    <a:pt x="884" y="171"/>
                    <a:pt x="884" y="171"/>
                  </a:cubicBezTo>
                  <a:cubicBezTo>
                    <a:pt x="885" y="171"/>
                    <a:pt x="886" y="170"/>
                    <a:pt x="886" y="169"/>
                  </a:cubicBezTo>
                  <a:cubicBezTo>
                    <a:pt x="886" y="92"/>
                    <a:pt x="886" y="92"/>
                    <a:pt x="886" y="92"/>
                  </a:cubicBezTo>
                  <a:cubicBezTo>
                    <a:pt x="888" y="91"/>
                    <a:pt x="897" y="90"/>
                    <a:pt x="909" y="90"/>
                  </a:cubicBezTo>
                  <a:cubicBezTo>
                    <a:pt x="912" y="90"/>
                    <a:pt x="912" y="88"/>
                    <a:pt x="912" y="86"/>
                  </a:cubicBezTo>
                  <a:moveTo>
                    <a:pt x="261" y="120"/>
                  </a:moveTo>
                  <a:cubicBezTo>
                    <a:pt x="261" y="150"/>
                    <a:pt x="268" y="174"/>
                    <a:pt x="313" y="174"/>
                  </a:cubicBezTo>
                  <a:cubicBezTo>
                    <a:pt x="358" y="174"/>
                    <a:pt x="364" y="150"/>
                    <a:pt x="364" y="120"/>
                  </a:cubicBezTo>
                  <a:cubicBezTo>
                    <a:pt x="364" y="89"/>
                    <a:pt x="358" y="66"/>
                    <a:pt x="313" y="66"/>
                  </a:cubicBezTo>
                  <a:cubicBezTo>
                    <a:pt x="268" y="66"/>
                    <a:pt x="261" y="89"/>
                    <a:pt x="261" y="120"/>
                  </a:cubicBezTo>
                  <a:moveTo>
                    <a:pt x="296" y="120"/>
                  </a:moveTo>
                  <a:cubicBezTo>
                    <a:pt x="296" y="97"/>
                    <a:pt x="297" y="88"/>
                    <a:pt x="313" y="88"/>
                  </a:cubicBezTo>
                  <a:cubicBezTo>
                    <a:pt x="328" y="88"/>
                    <a:pt x="329" y="97"/>
                    <a:pt x="329" y="120"/>
                  </a:cubicBezTo>
                  <a:cubicBezTo>
                    <a:pt x="329" y="143"/>
                    <a:pt x="328" y="152"/>
                    <a:pt x="313" y="152"/>
                  </a:cubicBezTo>
                  <a:cubicBezTo>
                    <a:pt x="297" y="152"/>
                    <a:pt x="296" y="143"/>
                    <a:pt x="296" y="120"/>
                  </a:cubicBezTo>
                  <a:moveTo>
                    <a:pt x="1069" y="75"/>
                  </a:moveTo>
                  <a:cubicBezTo>
                    <a:pt x="1073" y="75"/>
                    <a:pt x="1073" y="75"/>
                    <a:pt x="1073" y="75"/>
                  </a:cubicBezTo>
                  <a:cubicBezTo>
                    <a:pt x="1078" y="92"/>
                    <a:pt x="1078" y="92"/>
                    <a:pt x="1078" y="92"/>
                  </a:cubicBezTo>
                  <a:cubicBezTo>
                    <a:pt x="1064" y="92"/>
                    <a:pt x="1064" y="92"/>
                    <a:pt x="1064" y="92"/>
                  </a:cubicBezTo>
                  <a:lnTo>
                    <a:pt x="1069" y="75"/>
                  </a:lnTo>
                  <a:close/>
                  <a:moveTo>
                    <a:pt x="1131" y="95"/>
                  </a:moveTo>
                  <a:cubicBezTo>
                    <a:pt x="1131" y="106"/>
                    <a:pt x="1131" y="106"/>
                    <a:pt x="1131" y="106"/>
                  </a:cubicBezTo>
                  <a:cubicBezTo>
                    <a:pt x="1131" y="106"/>
                    <a:pt x="1128" y="106"/>
                    <a:pt x="1125" y="106"/>
                  </a:cubicBezTo>
                  <a:cubicBezTo>
                    <a:pt x="1117" y="106"/>
                    <a:pt x="1112" y="104"/>
                    <a:pt x="1112" y="91"/>
                  </a:cubicBezTo>
                  <a:cubicBezTo>
                    <a:pt x="1112" y="77"/>
                    <a:pt x="1117" y="75"/>
                    <a:pt x="1126" y="75"/>
                  </a:cubicBezTo>
                  <a:cubicBezTo>
                    <a:pt x="1130" y="75"/>
                    <a:pt x="1134" y="76"/>
                    <a:pt x="1137" y="76"/>
                  </a:cubicBezTo>
                  <a:cubicBezTo>
                    <a:pt x="1137" y="76"/>
                    <a:pt x="1138" y="76"/>
                    <a:pt x="1138" y="76"/>
                  </a:cubicBezTo>
                  <a:cubicBezTo>
                    <a:pt x="1138" y="76"/>
                    <a:pt x="1139" y="76"/>
                    <a:pt x="1139" y="76"/>
                  </a:cubicBezTo>
                  <a:cubicBezTo>
                    <a:pt x="1140" y="76"/>
                    <a:pt x="1140" y="76"/>
                    <a:pt x="1140" y="75"/>
                  </a:cubicBezTo>
                  <a:cubicBezTo>
                    <a:pt x="1141" y="72"/>
                    <a:pt x="1141" y="72"/>
                    <a:pt x="1141" y="72"/>
                  </a:cubicBezTo>
                  <a:cubicBezTo>
                    <a:pt x="1141" y="72"/>
                    <a:pt x="1141" y="71"/>
                    <a:pt x="1141" y="71"/>
                  </a:cubicBezTo>
                  <a:cubicBezTo>
                    <a:pt x="1141" y="70"/>
                    <a:pt x="1140" y="70"/>
                    <a:pt x="1140" y="70"/>
                  </a:cubicBezTo>
                  <a:cubicBezTo>
                    <a:pt x="1139" y="69"/>
                    <a:pt x="1132" y="67"/>
                    <a:pt x="1124" y="67"/>
                  </a:cubicBezTo>
                  <a:cubicBezTo>
                    <a:pt x="1108" y="67"/>
                    <a:pt x="1101" y="73"/>
                    <a:pt x="1101" y="90"/>
                  </a:cubicBezTo>
                  <a:cubicBezTo>
                    <a:pt x="1101" y="107"/>
                    <a:pt x="1107" y="113"/>
                    <a:pt x="1125" y="113"/>
                  </a:cubicBezTo>
                  <a:cubicBezTo>
                    <a:pt x="1129" y="113"/>
                    <a:pt x="1135" y="112"/>
                    <a:pt x="1137" y="112"/>
                  </a:cubicBezTo>
                  <a:cubicBezTo>
                    <a:pt x="1137" y="112"/>
                    <a:pt x="1137" y="112"/>
                    <a:pt x="1137" y="112"/>
                  </a:cubicBezTo>
                  <a:cubicBezTo>
                    <a:pt x="1140" y="111"/>
                    <a:pt x="1141" y="110"/>
                    <a:pt x="1141" y="107"/>
                  </a:cubicBezTo>
                  <a:cubicBezTo>
                    <a:pt x="1141" y="88"/>
                    <a:pt x="1141" y="88"/>
                    <a:pt x="1141" y="88"/>
                  </a:cubicBezTo>
                  <a:cubicBezTo>
                    <a:pt x="1141" y="88"/>
                    <a:pt x="1141" y="88"/>
                    <a:pt x="1140" y="88"/>
                  </a:cubicBezTo>
                  <a:cubicBezTo>
                    <a:pt x="1124" y="88"/>
                    <a:pt x="1124" y="88"/>
                    <a:pt x="1124" y="88"/>
                  </a:cubicBezTo>
                  <a:cubicBezTo>
                    <a:pt x="1123" y="88"/>
                    <a:pt x="1123" y="88"/>
                    <a:pt x="1123" y="88"/>
                  </a:cubicBezTo>
                  <a:cubicBezTo>
                    <a:pt x="1123" y="94"/>
                    <a:pt x="1123" y="94"/>
                    <a:pt x="1123" y="94"/>
                  </a:cubicBezTo>
                  <a:cubicBezTo>
                    <a:pt x="1123" y="94"/>
                    <a:pt x="1123" y="95"/>
                    <a:pt x="1124" y="95"/>
                  </a:cubicBezTo>
                  <a:lnTo>
                    <a:pt x="1131" y="95"/>
                  </a:lnTo>
                  <a:close/>
                  <a:moveTo>
                    <a:pt x="1079" y="68"/>
                  </a:moveTo>
                  <a:cubicBezTo>
                    <a:pt x="1062" y="68"/>
                    <a:pt x="1062" y="68"/>
                    <a:pt x="1062" y="68"/>
                  </a:cubicBezTo>
                  <a:cubicBezTo>
                    <a:pt x="1062" y="68"/>
                    <a:pt x="1062" y="69"/>
                    <a:pt x="1062" y="69"/>
                  </a:cubicBezTo>
                  <a:cubicBezTo>
                    <a:pt x="1047" y="111"/>
                    <a:pt x="1047" y="111"/>
                    <a:pt x="1047" y="111"/>
                  </a:cubicBezTo>
                  <a:cubicBezTo>
                    <a:pt x="1047" y="111"/>
                    <a:pt x="1047" y="112"/>
                    <a:pt x="1047" y="112"/>
                  </a:cubicBezTo>
                  <a:cubicBezTo>
                    <a:pt x="1047" y="112"/>
                    <a:pt x="1047" y="112"/>
                    <a:pt x="1048" y="112"/>
                  </a:cubicBezTo>
                  <a:cubicBezTo>
                    <a:pt x="1058" y="112"/>
                    <a:pt x="1058" y="112"/>
                    <a:pt x="1058" y="112"/>
                  </a:cubicBezTo>
                  <a:cubicBezTo>
                    <a:pt x="1059" y="112"/>
                    <a:pt x="1059" y="112"/>
                    <a:pt x="1059" y="112"/>
                  </a:cubicBezTo>
                  <a:cubicBezTo>
                    <a:pt x="1062" y="99"/>
                    <a:pt x="1062" y="99"/>
                    <a:pt x="1062" y="99"/>
                  </a:cubicBezTo>
                  <a:cubicBezTo>
                    <a:pt x="1080" y="99"/>
                    <a:pt x="1080" y="99"/>
                    <a:pt x="1080" y="99"/>
                  </a:cubicBezTo>
                  <a:cubicBezTo>
                    <a:pt x="1083" y="112"/>
                    <a:pt x="1083" y="112"/>
                    <a:pt x="1083" y="112"/>
                  </a:cubicBezTo>
                  <a:cubicBezTo>
                    <a:pt x="1083" y="112"/>
                    <a:pt x="1083" y="112"/>
                    <a:pt x="1083" y="112"/>
                  </a:cubicBezTo>
                  <a:cubicBezTo>
                    <a:pt x="1093" y="112"/>
                    <a:pt x="1093" y="112"/>
                    <a:pt x="1093" y="112"/>
                  </a:cubicBezTo>
                  <a:cubicBezTo>
                    <a:pt x="1094" y="112"/>
                    <a:pt x="1094" y="112"/>
                    <a:pt x="1094" y="112"/>
                  </a:cubicBezTo>
                  <a:cubicBezTo>
                    <a:pt x="1094" y="112"/>
                    <a:pt x="1094" y="111"/>
                    <a:pt x="1094" y="111"/>
                  </a:cubicBezTo>
                  <a:cubicBezTo>
                    <a:pt x="1080" y="69"/>
                    <a:pt x="1080" y="69"/>
                    <a:pt x="1080" y="69"/>
                  </a:cubicBezTo>
                  <a:cubicBezTo>
                    <a:pt x="1080" y="69"/>
                    <a:pt x="1080" y="68"/>
                    <a:pt x="1079" y="68"/>
                  </a:cubicBezTo>
                  <a:moveTo>
                    <a:pt x="70" y="68"/>
                  </a:moveTo>
                  <a:cubicBezTo>
                    <a:pt x="70" y="98"/>
                    <a:pt x="70" y="98"/>
                    <a:pt x="70" y="98"/>
                  </a:cubicBezTo>
                  <a:cubicBezTo>
                    <a:pt x="70" y="119"/>
                    <a:pt x="61" y="132"/>
                    <a:pt x="41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43" y="172"/>
                    <a:pt x="43" y="172"/>
                    <a:pt x="43" y="172"/>
                  </a:cubicBezTo>
                  <a:cubicBezTo>
                    <a:pt x="81" y="172"/>
                    <a:pt x="111" y="145"/>
                    <a:pt x="111" y="101"/>
                  </a:cubicBezTo>
                  <a:cubicBezTo>
                    <a:pt x="111" y="68"/>
                    <a:pt x="111" y="68"/>
                    <a:pt x="111" y="68"/>
                  </a:cubicBezTo>
                  <a:lnTo>
                    <a:pt x="7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6"/>
            <p:cNvSpPr>
              <a:spLocks/>
            </p:cNvSpPr>
            <p:nvPr/>
          </p:nvSpPr>
          <p:spPr bwMode="auto">
            <a:xfrm>
              <a:off x="757238" y="812800"/>
              <a:ext cx="77787" cy="120650"/>
            </a:xfrm>
            <a:custGeom>
              <a:avLst/>
              <a:gdLst>
                <a:gd name="T0" fmla="*/ 49 w 49"/>
                <a:gd name="T1" fmla="*/ 0 h 76"/>
                <a:gd name="T2" fmla="*/ 49 w 49"/>
                <a:gd name="T3" fmla="*/ 9 h 76"/>
                <a:gd name="T4" fmla="*/ 11 w 49"/>
                <a:gd name="T5" fmla="*/ 9 h 76"/>
                <a:gd name="T6" fmla="*/ 11 w 49"/>
                <a:gd name="T7" fmla="*/ 33 h 76"/>
                <a:gd name="T8" fmla="*/ 46 w 49"/>
                <a:gd name="T9" fmla="*/ 33 h 76"/>
                <a:gd name="T10" fmla="*/ 46 w 49"/>
                <a:gd name="T11" fmla="*/ 43 h 76"/>
                <a:gd name="T12" fmla="*/ 11 w 49"/>
                <a:gd name="T13" fmla="*/ 43 h 76"/>
                <a:gd name="T14" fmla="*/ 11 w 49"/>
                <a:gd name="T15" fmla="*/ 76 h 76"/>
                <a:gd name="T16" fmla="*/ 0 w 49"/>
                <a:gd name="T17" fmla="*/ 76 h 76"/>
                <a:gd name="T18" fmla="*/ 0 w 49"/>
                <a:gd name="T19" fmla="*/ 0 h 76"/>
                <a:gd name="T20" fmla="*/ 49 w 49"/>
                <a:gd name="T2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76">
                  <a:moveTo>
                    <a:pt x="49" y="0"/>
                  </a:moveTo>
                  <a:lnTo>
                    <a:pt x="49" y="9"/>
                  </a:lnTo>
                  <a:lnTo>
                    <a:pt x="11" y="9"/>
                  </a:lnTo>
                  <a:lnTo>
                    <a:pt x="11" y="33"/>
                  </a:lnTo>
                  <a:lnTo>
                    <a:pt x="46" y="33"/>
                  </a:lnTo>
                  <a:lnTo>
                    <a:pt x="46" y="43"/>
                  </a:lnTo>
                  <a:lnTo>
                    <a:pt x="11" y="43"/>
                  </a:lnTo>
                  <a:lnTo>
                    <a:pt x="11" y="76"/>
                  </a:lnTo>
                  <a:lnTo>
                    <a:pt x="0" y="76"/>
                  </a:lnTo>
                  <a:lnTo>
                    <a:pt x="0" y="0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"/>
            <p:cNvSpPr>
              <a:spLocks/>
            </p:cNvSpPr>
            <p:nvPr/>
          </p:nvSpPr>
          <p:spPr bwMode="auto">
            <a:xfrm>
              <a:off x="857250" y="850900"/>
              <a:ext cx="47625" cy="82550"/>
            </a:xfrm>
            <a:custGeom>
              <a:avLst/>
              <a:gdLst>
                <a:gd name="T0" fmla="*/ 23 w 23"/>
                <a:gd name="T1" fmla="*/ 1 h 40"/>
                <a:gd name="T2" fmla="*/ 23 w 23"/>
                <a:gd name="T3" fmla="*/ 9 h 40"/>
                <a:gd name="T4" fmla="*/ 19 w 23"/>
                <a:gd name="T5" fmla="*/ 8 h 40"/>
                <a:gd name="T6" fmla="*/ 8 w 23"/>
                <a:gd name="T7" fmla="*/ 20 h 40"/>
                <a:gd name="T8" fmla="*/ 8 w 23"/>
                <a:gd name="T9" fmla="*/ 40 h 40"/>
                <a:gd name="T10" fmla="*/ 0 w 23"/>
                <a:gd name="T11" fmla="*/ 40 h 40"/>
                <a:gd name="T12" fmla="*/ 0 w 23"/>
                <a:gd name="T13" fmla="*/ 1 h 40"/>
                <a:gd name="T14" fmla="*/ 8 w 23"/>
                <a:gd name="T15" fmla="*/ 1 h 40"/>
                <a:gd name="T16" fmla="*/ 8 w 23"/>
                <a:gd name="T17" fmla="*/ 7 h 40"/>
                <a:gd name="T18" fmla="*/ 8 w 23"/>
                <a:gd name="T19" fmla="*/ 7 h 40"/>
                <a:gd name="T20" fmla="*/ 20 w 23"/>
                <a:gd name="T21" fmla="*/ 0 h 40"/>
                <a:gd name="T22" fmla="*/ 23 w 23"/>
                <a:gd name="T2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23" y="1"/>
                  </a:moveTo>
                  <a:cubicBezTo>
                    <a:pt x="23" y="9"/>
                    <a:pt x="23" y="9"/>
                    <a:pt x="23" y="9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1" y="8"/>
                    <a:pt x="8" y="12"/>
                    <a:pt x="8" y="2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3"/>
                    <a:pt x="15" y="0"/>
                    <a:pt x="20" y="0"/>
                  </a:cubicBezTo>
                  <a:cubicBezTo>
                    <a:pt x="21" y="0"/>
                    <a:pt x="22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8"/>
            <p:cNvSpPr>
              <a:spLocks noEditPoints="1"/>
            </p:cNvSpPr>
            <p:nvPr/>
          </p:nvSpPr>
          <p:spPr bwMode="auto">
            <a:xfrm>
              <a:off x="917575" y="850900"/>
              <a:ext cx="82550" cy="84138"/>
            </a:xfrm>
            <a:custGeom>
              <a:avLst/>
              <a:gdLst>
                <a:gd name="T0" fmla="*/ 40 w 40"/>
                <a:gd name="T1" fmla="*/ 21 h 41"/>
                <a:gd name="T2" fmla="*/ 40 w 40"/>
                <a:gd name="T3" fmla="*/ 23 h 41"/>
                <a:gd name="T4" fmla="*/ 8 w 40"/>
                <a:gd name="T5" fmla="*/ 23 h 41"/>
                <a:gd name="T6" fmla="*/ 22 w 40"/>
                <a:gd name="T7" fmla="*/ 35 h 41"/>
                <a:gd name="T8" fmla="*/ 32 w 40"/>
                <a:gd name="T9" fmla="*/ 29 h 41"/>
                <a:gd name="T10" fmla="*/ 38 w 40"/>
                <a:gd name="T11" fmla="*/ 33 h 41"/>
                <a:gd name="T12" fmla="*/ 21 w 40"/>
                <a:gd name="T13" fmla="*/ 41 h 41"/>
                <a:gd name="T14" fmla="*/ 0 w 40"/>
                <a:gd name="T15" fmla="*/ 21 h 41"/>
                <a:gd name="T16" fmla="*/ 21 w 40"/>
                <a:gd name="T17" fmla="*/ 0 h 41"/>
                <a:gd name="T18" fmla="*/ 40 w 40"/>
                <a:gd name="T19" fmla="*/ 21 h 41"/>
                <a:gd name="T20" fmla="*/ 32 w 40"/>
                <a:gd name="T21" fmla="*/ 17 h 41"/>
                <a:gd name="T22" fmla="*/ 21 w 40"/>
                <a:gd name="T23" fmla="*/ 6 h 41"/>
                <a:gd name="T24" fmla="*/ 8 w 40"/>
                <a:gd name="T25" fmla="*/ 17 h 41"/>
                <a:gd name="T26" fmla="*/ 32 w 40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40" y="21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5" y="35"/>
                    <a:pt x="22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4" y="39"/>
                    <a:pt x="28" y="41"/>
                    <a:pt x="21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32" y="0"/>
                    <a:pt x="40" y="8"/>
                    <a:pt x="40" y="21"/>
                  </a:cubicBezTo>
                  <a:close/>
                  <a:moveTo>
                    <a:pt x="32" y="17"/>
                  </a:moveTo>
                  <a:cubicBezTo>
                    <a:pt x="32" y="10"/>
                    <a:pt x="27" y="6"/>
                    <a:pt x="21" y="6"/>
                  </a:cubicBezTo>
                  <a:cubicBezTo>
                    <a:pt x="13" y="6"/>
                    <a:pt x="8" y="13"/>
                    <a:pt x="8" y="17"/>
                  </a:cubicBezTo>
                  <a:lnTo>
                    <a:pt x="3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9"/>
            <p:cNvSpPr>
              <a:spLocks noEditPoints="1"/>
            </p:cNvSpPr>
            <p:nvPr/>
          </p:nvSpPr>
          <p:spPr bwMode="auto">
            <a:xfrm>
              <a:off x="1019175" y="850900"/>
              <a:ext cx="79375" cy="84138"/>
            </a:xfrm>
            <a:custGeom>
              <a:avLst/>
              <a:gdLst>
                <a:gd name="T0" fmla="*/ 39 w 39"/>
                <a:gd name="T1" fmla="*/ 21 h 41"/>
                <a:gd name="T2" fmla="*/ 39 w 39"/>
                <a:gd name="T3" fmla="*/ 23 h 41"/>
                <a:gd name="T4" fmla="*/ 8 w 39"/>
                <a:gd name="T5" fmla="*/ 23 h 41"/>
                <a:gd name="T6" fmla="*/ 21 w 39"/>
                <a:gd name="T7" fmla="*/ 35 h 41"/>
                <a:gd name="T8" fmla="*/ 32 w 39"/>
                <a:gd name="T9" fmla="*/ 29 h 41"/>
                <a:gd name="T10" fmla="*/ 37 w 39"/>
                <a:gd name="T11" fmla="*/ 33 h 41"/>
                <a:gd name="T12" fmla="*/ 20 w 39"/>
                <a:gd name="T13" fmla="*/ 41 h 41"/>
                <a:gd name="T14" fmla="*/ 0 w 39"/>
                <a:gd name="T15" fmla="*/ 21 h 41"/>
                <a:gd name="T16" fmla="*/ 20 w 39"/>
                <a:gd name="T17" fmla="*/ 0 h 41"/>
                <a:gd name="T18" fmla="*/ 39 w 39"/>
                <a:gd name="T19" fmla="*/ 21 h 41"/>
                <a:gd name="T20" fmla="*/ 31 w 39"/>
                <a:gd name="T21" fmla="*/ 17 h 41"/>
                <a:gd name="T22" fmla="*/ 20 w 39"/>
                <a:gd name="T23" fmla="*/ 6 h 41"/>
                <a:gd name="T24" fmla="*/ 8 w 39"/>
                <a:gd name="T25" fmla="*/ 17 h 41"/>
                <a:gd name="T26" fmla="*/ 31 w 39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1">
                  <a:moveTo>
                    <a:pt x="39" y="21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4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3" y="39"/>
                    <a:pt x="28" y="41"/>
                    <a:pt x="20" y="41"/>
                  </a:cubicBezTo>
                  <a:cubicBezTo>
                    <a:pt x="8" y="41"/>
                    <a:pt x="0" y="33"/>
                    <a:pt x="0" y="21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39" y="8"/>
                    <a:pt x="39" y="21"/>
                  </a:cubicBezTo>
                  <a:close/>
                  <a:moveTo>
                    <a:pt x="31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10"/>
            <p:cNvSpPr>
              <a:spLocks noEditPoints="1"/>
            </p:cNvSpPr>
            <p:nvPr/>
          </p:nvSpPr>
          <p:spPr bwMode="auto">
            <a:xfrm>
              <a:off x="1120775" y="804863"/>
              <a:ext cx="84137" cy="130175"/>
            </a:xfrm>
            <a:custGeom>
              <a:avLst/>
              <a:gdLst>
                <a:gd name="T0" fmla="*/ 41 w 41"/>
                <a:gd name="T1" fmla="*/ 0 h 63"/>
                <a:gd name="T2" fmla="*/ 41 w 41"/>
                <a:gd name="T3" fmla="*/ 62 h 63"/>
                <a:gd name="T4" fmla="*/ 33 w 41"/>
                <a:gd name="T5" fmla="*/ 62 h 63"/>
                <a:gd name="T6" fmla="*/ 33 w 41"/>
                <a:gd name="T7" fmla="*/ 57 h 63"/>
                <a:gd name="T8" fmla="*/ 33 w 41"/>
                <a:gd name="T9" fmla="*/ 57 h 63"/>
                <a:gd name="T10" fmla="*/ 20 w 41"/>
                <a:gd name="T11" fmla="*/ 63 h 63"/>
                <a:gd name="T12" fmla="*/ 0 w 41"/>
                <a:gd name="T13" fmla="*/ 43 h 63"/>
                <a:gd name="T14" fmla="*/ 20 w 41"/>
                <a:gd name="T15" fmla="*/ 22 h 63"/>
                <a:gd name="T16" fmla="*/ 33 w 41"/>
                <a:gd name="T17" fmla="*/ 29 h 63"/>
                <a:gd name="T18" fmla="*/ 33 w 41"/>
                <a:gd name="T19" fmla="*/ 29 h 63"/>
                <a:gd name="T20" fmla="*/ 33 w 41"/>
                <a:gd name="T21" fmla="*/ 0 h 63"/>
                <a:gd name="T22" fmla="*/ 41 w 41"/>
                <a:gd name="T23" fmla="*/ 0 h 63"/>
                <a:gd name="T24" fmla="*/ 21 w 41"/>
                <a:gd name="T25" fmla="*/ 56 h 63"/>
                <a:gd name="T26" fmla="*/ 33 w 41"/>
                <a:gd name="T27" fmla="*/ 43 h 63"/>
                <a:gd name="T28" fmla="*/ 20 w 41"/>
                <a:gd name="T29" fmla="*/ 29 h 63"/>
                <a:gd name="T30" fmla="*/ 8 w 41"/>
                <a:gd name="T31" fmla="*/ 43 h 63"/>
                <a:gd name="T32" fmla="*/ 21 w 41"/>
                <a:gd name="T33" fmla="*/ 5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63">
                  <a:moveTo>
                    <a:pt x="41" y="0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0" y="61"/>
                    <a:pt x="25" y="63"/>
                    <a:pt x="20" y="63"/>
                  </a:cubicBezTo>
                  <a:cubicBezTo>
                    <a:pt x="8" y="63"/>
                    <a:pt x="0" y="55"/>
                    <a:pt x="0" y="43"/>
                  </a:cubicBezTo>
                  <a:cubicBezTo>
                    <a:pt x="0" y="30"/>
                    <a:pt x="8" y="22"/>
                    <a:pt x="20" y="22"/>
                  </a:cubicBezTo>
                  <a:cubicBezTo>
                    <a:pt x="25" y="22"/>
                    <a:pt x="30" y="24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41" y="0"/>
                  </a:lnTo>
                  <a:close/>
                  <a:moveTo>
                    <a:pt x="21" y="56"/>
                  </a:moveTo>
                  <a:cubicBezTo>
                    <a:pt x="28" y="56"/>
                    <a:pt x="33" y="51"/>
                    <a:pt x="33" y="43"/>
                  </a:cubicBezTo>
                  <a:cubicBezTo>
                    <a:pt x="33" y="34"/>
                    <a:pt x="28" y="29"/>
                    <a:pt x="20" y="29"/>
                  </a:cubicBezTo>
                  <a:cubicBezTo>
                    <a:pt x="13" y="29"/>
                    <a:pt x="8" y="34"/>
                    <a:pt x="8" y="43"/>
                  </a:cubicBezTo>
                  <a:cubicBezTo>
                    <a:pt x="8" y="51"/>
                    <a:pt x="13" y="56"/>
                    <a:pt x="21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1"/>
            <p:cNvSpPr>
              <a:spLocks noEditPoints="1"/>
            </p:cNvSpPr>
            <p:nvPr/>
          </p:nvSpPr>
          <p:spPr bwMode="auto">
            <a:xfrm>
              <a:off x="1230313" y="850900"/>
              <a:ext cx="84137" cy="84138"/>
            </a:xfrm>
            <a:custGeom>
              <a:avLst/>
              <a:gdLst>
                <a:gd name="T0" fmla="*/ 41 w 41"/>
                <a:gd name="T1" fmla="*/ 21 h 41"/>
                <a:gd name="T2" fmla="*/ 20 w 41"/>
                <a:gd name="T3" fmla="*/ 41 h 41"/>
                <a:gd name="T4" fmla="*/ 0 w 41"/>
                <a:gd name="T5" fmla="*/ 21 h 41"/>
                <a:gd name="T6" fmla="*/ 20 w 41"/>
                <a:gd name="T7" fmla="*/ 0 h 41"/>
                <a:gd name="T8" fmla="*/ 41 w 41"/>
                <a:gd name="T9" fmla="*/ 21 h 41"/>
                <a:gd name="T10" fmla="*/ 20 w 41"/>
                <a:gd name="T11" fmla="*/ 34 h 41"/>
                <a:gd name="T12" fmla="*/ 33 w 41"/>
                <a:gd name="T13" fmla="*/ 21 h 41"/>
                <a:gd name="T14" fmla="*/ 20 w 41"/>
                <a:gd name="T15" fmla="*/ 7 h 41"/>
                <a:gd name="T16" fmla="*/ 8 w 41"/>
                <a:gd name="T17" fmla="*/ 21 h 41"/>
                <a:gd name="T18" fmla="*/ 20 w 41"/>
                <a:gd name="T19" fmla="*/ 3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41" y="21"/>
                  </a:moveTo>
                  <a:cubicBezTo>
                    <a:pt x="41" y="32"/>
                    <a:pt x="32" y="41"/>
                    <a:pt x="20" y="41"/>
                  </a:cubicBezTo>
                  <a:cubicBezTo>
                    <a:pt x="9" y="41"/>
                    <a:pt x="0" y="32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1" y="9"/>
                    <a:pt x="41" y="21"/>
                  </a:cubicBezTo>
                  <a:close/>
                  <a:moveTo>
                    <a:pt x="20" y="34"/>
                  </a:moveTo>
                  <a:cubicBezTo>
                    <a:pt x="28" y="34"/>
                    <a:pt x="33" y="29"/>
                    <a:pt x="33" y="21"/>
                  </a:cubicBezTo>
                  <a:cubicBezTo>
                    <a:pt x="33" y="12"/>
                    <a:pt x="28" y="7"/>
                    <a:pt x="20" y="7"/>
                  </a:cubicBezTo>
                  <a:cubicBezTo>
                    <a:pt x="13" y="7"/>
                    <a:pt x="8" y="13"/>
                    <a:pt x="8" y="21"/>
                  </a:cubicBezTo>
                  <a:cubicBezTo>
                    <a:pt x="8" y="29"/>
                    <a:pt x="13" y="34"/>
                    <a:pt x="2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339850" y="850900"/>
              <a:ext cx="122237" cy="82550"/>
            </a:xfrm>
            <a:custGeom>
              <a:avLst/>
              <a:gdLst>
                <a:gd name="T0" fmla="*/ 32 w 59"/>
                <a:gd name="T1" fmla="*/ 7 h 40"/>
                <a:gd name="T2" fmla="*/ 44 w 59"/>
                <a:gd name="T3" fmla="*/ 0 h 40"/>
                <a:gd name="T4" fmla="*/ 59 w 59"/>
                <a:gd name="T5" fmla="*/ 17 h 40"/>
                <a:gd name="T6" fmla="*/ 59 w 59"/>
                <a:gd name="T7" fmla="*/ 40 h 40"/>
                <a:gd name="T8" fmla="*/ 52 w 59"/>
                <a:gd name="T9" fmla="*/ 40 h 40"/>
                <a:gd name="T10" fmla="*/ 52 w 59"/>
                <a:gd name="T11" fmla="*/ 18 h 40"/>
                <a:gd name="T12" fmla="*/ 43 w 59"/>
                <a:gd name="T13" fmla="*/ 7 h 40"/>
                <a:gd name="T14" fmla="*/ 33 w 59"/>
                <a:gd name="T15" fmla="*/ 18 h 40"/>
                <a:gd name="T16" fmla="*/ 33 w 59"/>
                <a:gd name="T17" fmla="*/ 40 h 40"/>
                <a:gd name="T18" fmla="*/ 26 w 59"/>
                <a:gd name="T19" fmla="*/ 40 h 40"/>
                <a:gd name="T20" fmla="*/ 26 w 59"/>
                <a:gd name="T21" fmla="*/ 19 h 40"/>
                <a:gd name="T22" fmla="*/ 18 w 59"/>
                <a:gd name="T23" fmla="*/ 7 h 40"/>
                <a:gd name="T24" fmla="*/ 8 w 59"/>
                <a:gd name="T25" fmla="*/ 20 h 40"/>
                <a:gd name="T26" fmla="*/ 8 w 59"/>
                <a:gd name="T27" fmla="*/ 40 h 40"/>
                <a:gd name="T28" fmla="*/ 0 w 59"/>
                <a:gd name="T29" fmla="*/ 40 h 40"/>
                <a:gd name="T30" fmla="*/ 0 w 59"/>
                <a:gd name="T31" fmla="*/ 1 h 40"/>
                <a:gd name="T32" fmla="*/ 7 w 59"/>
                <a:gd name="T33" fmla="*/ 1 h 40"/>
                <a:gd name="T34" fmla="*/ 7 w 59"/>
                <a:gd name="T35" fmla="*/ 7 h 40"/>
                <a:gd name="T36" fmla="*/ 7 w 59"/>
                <a:gd name="T37" fmla="*/ 7 h 40"/>
                <a:gd name="T38" fmla="*/ 20 w 59"/>
                <a:gd name="T39" fmla="*/ 0 h 40"/>
                <a:gd name="T40" fmla="*/ 32 w 59"/>
                <a:gd name="T41" fmla="*/ 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" h="40">
                  <a:moveTo>
                    <a:pt x="32" y="7"/>
                  </a:moveTo>
                  <a:cubicBezTo>
                    <a:pt x="34" y="3"/>
                    <a:pt x="39" y="0"/>
                    <a:pt x="44" y="0"/>
                  </a:cubicBezTo>
                  <a:cubicBezTo>
                    <a:pt x="54" y="0"/>
                    <a:pt x="59" y="6"/>
                    <a:pt x="59" y="17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0"/>
                    <a:pt x="49" y="7"/>
                    <a:pt x="43" y="7"/>
                  </a:cubicBezTo>
                  <a:cubicBezTo>
                    <a:pt x="37" y="7"/>
                    <a:pt x="33" y="11"/>
                    <a:pt x="33" y="18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0"/>
                    <a:pt x="23" y="7"/>
                    <a:pt x="18" y="7"/>
                  </a:cubicBezTo>
                  <a:cubicBezTo>
                    <a:pt x="12" y="7"/>
                    <a:pt x="8" y="12"/>
                    <a:pt x="8" y="2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9" y="3"/>
                    <a:pt x="14" y="0"/>
                    <a:pt x="20" y="0"/>
                  </a:cubicBezTo>
                  <a:cubicBezTo>
                    <a:pt x="26" y="0"/>
                    <a:pt x="29" y="2"/>
                    <a:pt x="3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538288" y="850900"/>
              <a:ext cx="73025" cy="84138"/>
            </a:xfrm>
            <a:custGeom>
              <a:avLst/>
              <a:gdLst>
                <a:gd name="T0" fmla="*/ 34 w 35"/>
                <a:gd name="T1" fmla="*/ 13 h 41"/>
                <a:gd name="T2" fmla="*/ 34 w 35"/>
                <a:gd name="T3" fmla="*/ 34 h 41"/>
                <a:gd name="T4" fmla="*/ 35 w 35"/>
                <a:gd name="T5" fmla="*/ 40 h 41"/>
                <a:gd name="T6" fmla="*/ 28 w 35"/>
                <a:gd name="T7" fmla="*/ 40 h 41"/>
                <a:gd name="T8" fmla="*/ 28 w 35"/>
                <a:gd name="T9" fmla="*/ 34 h 41"/>
                <a:gd name="T10" fmla="*/ 28 w 35"/>
                <a:gd name="T11" fmla="*/ 34 h 41"/>
                <a:gd name="T12" fmla="*/ 14 w 35"/>
                <a:gd name="T13" fmla="*/ 41 h 41"/>
                <a:gd name="T14" fmla="*/ 0 w 35"/>
                <a:gd name="T15" fmla="*/ 29 h 41"/>
                <a:gd name="T16" fmla="*/ 22 w 35"/>
                <a:gd name="T17" fmla="*/ 16 h 41"/>
                <a:gd name="T18" fmla="*/ 28 w 35"/>
                <a:gd name="T19" fmla="*/ 16 h 41"/>
                <a:gd name="T20" fmla="*/ 28 w 35"/>
                <a:gd name="T21" fmla="*/ 14 h 41"/>
                <a:gd name="T22" fmla="*/ 18 w 35"/>
                <a:gd name="T23" fmla="*/ 6 h 41"/>
                <a:gd name="T24" fmla="*/ 7 w 35"/>
                <a:gd name="T25" fmla="*/ 10 h 41"/>
                <a:gd name="T26" fmla="*/ 3 w 35"/>
                <a:gd name="T27" fmla="*/ 6 h 41"/>
                <a:gd name="T28" fmla="*/ 18 w 35"/>
                <a:gd name="T29" fmla="*/ 0 h 41"/>
                <a:gd name="T30" fmla="*/ 34 w 35"/>
                <a:gd name="T31" fmla="*/ 13 h 41"/>
                <a:gd name="T32" fmla="*/ 16 w 35"/>
                <a:gd name="T33" fmla="*/ 35 h 41"/>
                <a:gd name="T34" fmla="*/ 28 w 35"/>
                <a:gd name="T35" fmla="*/ 23 h 41"/>
                <a:gd name="T36" fmla="*/ 28 w 35"/>
                <a:gd name="T37" fmla="*/ 21 h 41"/>
                <a:gd name="T38" fmla="*/ 23 w 35"/>
                <a:gd name="T39" fmla="*/ 21 h 41"/>
                <a:gd name="T40" fmla="*/ 8 w 35"/>
                <a:gd name="T41" fmla="*/ 29 h 41"/>
                <a:gd name="T42" fmla="*/ 16 w 35"/>
                <a:gd name="T4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41">
                  <a:moveTo>
                    <a:pt x="34" y="13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5" y="38"/>
                    <a:pt x="35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8"/>
                    <a:pt x="28" y="37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4" y="39"/>
                    <a:pt x="20" y="41"/>
                    <a:pt x="14" y="41"/>
                  </a:cubicBezTo>
                  <a:cubicBezTo>
                    <a:pt x="6" y="41"/>
                    <a:pt x="0" y="37"/>
                    <a:pt x="0" y="29"/>
                  </a:cubicBezTo>
                  <a:cubicBezTo>
                    <a:pt x="0" y="22"/>
                    <a:pt x="7" y="16"/>
                    <a:pt x="22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9"/>
                    <a:pt x="24" y="6"/>
                    <a:pt x="18" y="6"/>
                  </a:cubicBezTo>
                  <a:cubicBezTo>
                    <a:pt x="14" y="6"/>
                    <a:pt x="11" y="7"/>
                    <a:pt x="7" y="10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7" y="2"/>
                    <a:pt x="12" y="0"/>
                    <a:pt x="18" y="0"/>
                  </a:cubicBezTo>
                  <a:cubicBezTo>
                    <a:pt x="30" y="0"/>
                    <a:pt x="34" y="7"/>
                    <a:pt x="34" y="13"/>
                  </a:cubicBezTo>
                  <a:close/>
                  <a:moveTo>
                    <a:pt x="16" y="35"/>
                  </a:moveTo>
                  <a:cubicBezTo>
                    <a:pt x="23" y="35"/>
                    <a:pt x="28" y="31"/>
                    <a:pt x="28" y="23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11" y="21"/>
                    <a:pt x="8" y="25"/>
                    <a:pt x="8" y="29"/>
                  </a:cubicBezTo>
                  <a:cubicBezTo>
                    <a:pt x="8" y="33"/>
                    <a:pt x="11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14"/>
            <p:cNvSpPr>
              <a:spLocks/>
            </p:cNvSpPr>
            <p:nvPr/>
          </p:nvSpPr>
          <p:spPr bwMode="auto">
            <a:xfrm>
              <a:off x="1628775" y="850900"/>
              <a:ext cx="65087" cy="84138"/>
            </a:xfrm>
            <a:custGeom>
              <a:avLst/>
              <a:gdLst>
                <a:gd name="T0" fmla="*/ 30 w 31"/>
                <a:gd name="T1" fmla="*/ 6 h 41"/>
                <a:gd name="T2" fmla="*/ 25 w 31"/>
                <a:gd name="T3" fmla="*/ 11 h 41"/>
                <a:gd name="T4" fmla="*/ 17 w 31"/>
                <a:gd name="T5" fmla="*/ 7 h 41"/>
                <a:gd name="T6" fmla="*/ 10 w 31"/>
                <a:gd name="T7" fmla="*/ 11 h 41"/>
                <a:gd name="T8" fmla="*/ 18 w 31"/>
                <a:gd name="T9" fmla="*/ 17 h 41"/>
                <a:gd name="T10" fmla="*/ 31 w 31"/>
                <a:gd name="T11" fmla="*/ 29 h 41"/>
                <a:gd name="T12" fmla="*/ 15 w 31"/>
                <a:gd name="T13" fmla="*/ 41 h 41"/>
                <a:gd name="T14" fmla="*/ 0 w 31"/>
                <a:gd name="T15" fmla="*/ 34 h 41"/>
                <a:gd name="T16" fmla="*/ 6 w 31"/>
                <a:gd name="T17" fmla="*/ 30 h 41"/>
                <a:gd name="T18" fmla="*/ 16 w 31"/>
                <a:gd name="T19" fmla="*/ 34 h 41"/>
                <a:gd name="T20" fmla="*/ 23 w 31"/>
                <a:gd name="T21" fmla="*/ 29 h 41"/>
                <a:gd name="T22" fmla="*/ 16 w 31"/>
                <a:gd name="T23" fmla="*/ 24 h 41"/>
                <a:gd name="T24" fmla="*/ 2 w 31"/>
                <a:gd name="T25" fmla="*/ 12 h 41"/>
                <a:gd name="T26" fmla="*/ 17 w 31"/>
                <a:gd name="T27" fmla="*/ 0 h 41"/>
                <a:gd name="T28" fmla="*/ 30 w 31"/>
                <a:gd name="T2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41">
                  <a:moveTo>
                    <a:pt x="30" y="6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23" y="9"/>
                    <a:pt x="20" y="7"/>
                    <a:pt x="17" y="7"/>
                  </a:cubicBezTo>
                  <a:cubicBezTo>
                    <a:pt x="13" y="7"/>
                    <a:pt x="10" y="9"/>
                    <a:pt x="10" y="11"/>
                  </a:cubicBezTo>
                  <a:cubicBezTo>
                    <a:pt x="10" y="15"/>
                    <a:pt x="13" y="16"/>
                    <a:pt x="18" y="17"/>
                  </a:cubicBezTo>
                  <a:cubicBezTo>
                    <a:pt x="27" y="19"/>
                    <a:pt x="31" y="22"/>
                    <a:pt x="31" y="29"/>
                  </a:cubicBezTo>
                  <a:cubicBezTo>
                    <a:pt x="31" y="37"/>
                    <a:pt x="24" y="41"/>
                    <a:pt x="15" y="41"/>
                  </a:cubicBezTo>
                  <a:cubicBezTo>
                    <a:pt x="8" y="41"/>
                    <a:pt x="4" y="39"/>
                    <a:pt x="0" y="34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9" y="33"/>
                    <a:pt x="12" y="34"/>
                    <a:pt x="16" y="34"/>
                  </a:cubicBezTo>
                  <a:cubicBezTo>
                    <a:pt x="20" y="34"/>
                    <a:pt x="23" y="32"/>
                    <a:pt x="23" y="29"/>
                  </a:cubicBezTo>
                  <a:cubicBezTo>
                    <a:pt x="23" y="26"/>
                    <a:pt x="21" y="25"/>
                    <a:pt x="16" y="24"/>
                  </a:cubicBezTo>
                  <a:cubicBezTo>
                    <a:pt x="7" y="22"/>
                    <a:pt x="2" y="19"/>
                    <a:pt x="2" y="12"/>
                  </a:cubicBezTo>
                  <a:cubicBezTo>
                    <a:pt x="2" y="4"/>
                    <a:pt x="10" y="0"/>
                    <a:pt x="17" y="0"/>
                  </a:cubicBezTo>
                  <a:cubicBezTo>
                    <a:pt x="23" y="0"/>
                    <a:pt x="28" y="2"/>
                    <a:pt x="3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15"/>
            <p:cNvSpPr>
              <a:spLocks noEditPoints="1"/>
            </p:cNvSpPr>
            <p:nvPr/>
          </p:nvSpPr>
          <p:spPr bwMode="auto">
            <a:xfrm>
              <a:off x="1766888" y="850900"/>
              <a:ext cx="71437" cy="84138"/>
            </a:xfrm>
            <a:custGeom>
              <a:avLst/>
              <a:gdLst>
                <a:gd name="T0" fmla="*/ 34 w 35"/>
                <a:gd name="T1" fmla="*/ 13 h 41"/>
                <a:gd name="T2" fmla="*/ 34 w 35"/>
                <a:gd name="T3" fmla="*/ 34 h 41"/>
                <a:gd name="T4" fmla="*/ 35 w 35"/>
                <a:gd name="T5" fmla="*/ 40 h 41"/>
                <a:gd name="T6" fmla="*/ 28 w 35"/>
                <a:gd name="T7" fmla="*/ 40 h 41"/>
                <a:gd name="T8" fmla="*/ 28 w 35"/>
                <a:gd name="T9" fmla="*/ 34 h 41"/>
                <a:gd name="T10" fmla="*/ 28 w 35"/>
                <a:gd name="T11" fmla="*/ 34 h 41"/>
                <a:gd name="T12" fmla="*/ 14 w 35"/>
                <a:gd name="T13" fmla="*/ 41 h 41"/>
                <a:gd name="T14" fmla="*/ 0 w 35"/>
                <a:gd name="T15" fmla="*/ 29 h 41"/>
                <a:gd name="T16" fmla="*/ 22 w 35"/>
                <a:gd name="T17" fmla="*/ 16 h 41"/>
                <a:gd name="T18" fmla="*/ 27 w 35"/>
                <a:gd name="T19" fmla="*/ 16 h 41"/>
                <a:gd name="T20" fmla="*/ 27 w 35"/>
                <a:gd name="T21" fmla="*/ 14 h 41"/>
                <a:gd name="T22" fmla="*/ 18 w 35"/>
                <a:gd name="T23" fmla="*/ 6 h 41"/>
                <a:gd name="T24" fmla="*/ 7 w 35"/>
                <a:gd name="T25" fmla="*/ 10 h 41"/>
                <a:gd name="T26" fmla="*/ 2 w 35"/>
                <a:gd name="T27" fmla="*/ 6 h 41"/>
                <a:gd name="T28" fmla="*/ 18 w 35"/>
                <a:gd name="T29" fmla="*/ 0 h 41"/>
                <a:gd name="T30" fmla="*/ 34 w 35"/>
                <a:gd name="T31" fmla="*/ 13 h 41"/>
                <a:gd name="T32" fmla="*/ 16 w 35"/>
                <a:gd name="T33" fmla="*/ 35 h 41"/>
                <a:gd name="T34" fmla="*/ 27 w 35"/>
                <a:gd name="T35" fmla="*/ 23 h 41"/>
                <a:gd name="T36" fmla="*/ 27 w 35"/>
                <a:gd name="T37" fmla="*/ 21 h 41"/>
                <a:gd name="T38" fmla="*/ 23 w 35"/>
                <a:gd name="T39" fmla="*/ 21 h 41"/>
                <a:gd name="T40" fmla="*/ 8 w 35"/>
                <a:gd name="T41" fmla="*/ 29 h 41"/>
                <a:gd name="T42" fmla="*/ 16 w 35"/>
                <a:gd name="T4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41">
                  <a:moveTo>
                    <a:pt x="34" y="13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4" y="38"/>
                    <a:pt x="35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8"/>
                    <a:pt x="28" y="37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4" y="39"/>
                    <a:pt x="20" y="41"/>
                    <a:pt x="14" y="41"/>
                  </a:cubicBezTo>
                  <a:cubicBezTo>
                    <a:pt x="6" y="41"/>
                    <a:pt x="0" y="37"/>
                    <a:pt x="0" y="29"/>
                  </a:cubicBezTo>
                  <a:cubicBezTo>
                    <a:pt x="0" y="22"/>
                    <a:pt x="7" y="16"/>
                    <a:pt x="22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9"/>
                    <a:pt x="24" y="6"/>
                    <a:pt x="18" y="6"/>
                  </a:cubicBezTo>
                  <a:cubicBezTo>
                    <a:pt x="14" y="6"/>
                    <a:pt x="11" y="7"/>
                    <a:pt x="7" y="1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7" y="2"/>
                    <a:pt x="12" y="0"/>
                    <a:pt x="18" y="0"/>
                  </a:cubicBezTo>
                  <a:cubicBezTo>
                    <a:pt x="30" y="0"/>
                    <a:pt x="34" y="7"/>
                    <a:pt x="34" y="13"/>
                  </a:cubicBezTo>
                  <a:close/>
                  <a:moveTo>
                    <a:pt x="16" y="35"/>
                  </a:moveTo>
                  <a:cubicBezTo>
                    <a:pt x="23" y="35"/>
                    <a:pt x="27" y="31"/>
                    <a:pt x="27" y="23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11" y="21"/>
                    <a:pt x="8" y="25"/>
                    <a:pt x="8" y="29"/>
                  </a:cubicBezTo>
                  <a:cubicBezTo>
                    <a:pt x="8" y="33"/>
                    <a:pt x="11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auto">
            <a:xfrm>
              <a:off x="1911350" y="809625"/>
              <a:ext cx="80962" cy="127000"/>
            </a:xfrm>
            <a:custGeom>
              <a:avLst/>
              <a:gdLst>
                <a:gd name="T0" fmla="*/ 39 w 39"/>
                <a:gd name="T1" fmla="*/ 7 h 62"/>
                <a:gd name="T2" fmla="*/ 32 w 39"/>
                <a:gd name="T3" fmla="*/ 13 h 62"/>
                <a:gd name="T4" fmla="*/ 22 w 39"/>
                <a:gd name="T5" fmla="*/ 8 h 62"/>
                <a:gd name="T6" fmla="*/ 10 w 39"/>
                <a:gd name="T7" fmla="*/ 17 h 62"/>
                <a:gd name="T8" fmla="*/ 19 w 39"/>
                <a:gd name="T9" fmla="*/ 26 h 62"/>
                <a:gd name="T10" fmla="*/ 27 w 39"/>
                <a:gd name="T11" fmla="*/ 28 h 62"/>
                <a:gd name="T12" fmla="*/ 39 w 39"/>
                <a:gd name="T13" fmla="*/ 44 h 62"/>
                <a:gd name="T14" fmla="*/ 19 w 39"/>
                <a:gd name="T15" fmla="*/ 62 h 62"/>
                <a:gd name="T16" fmla="*/ 0 w 39"/>
                <a:gd name="T17" fmla="*/ 54 h 62"/>
                <a:gd name="T18" fmla="*/ 7 w 39"/>
                <a:gd name="T19" fmla="*/ 48 h 62"/>
                <a:gd name="T20" fmla="*/ 19 w 39"/>
                <a:gd name="T21" fmla="*/ 54 h 62"/>
                <a:gd name="T22" fmla="*/ 31 w 39"/>
                <a:gd name="T23" fmla="*/ 44 h 62"/>
                <a:gd name="T24" fmla="*/ 21 w 39"/>
                <a:gd name="T25" fmla="*/ 36 h 62"/>
                <a:gd name="T26" fmla="*/ 16 w 39"/>
                <a:gd name="T27" fmla="*/ 34 h 62"/>
                <a:gd name="T28" fmla="*/ 2 w 39"/>
                <a:gd name="T29" fmla="*/ 17 h 62"/>
                <a:gd name="T30" fmla="*/ 22 w 39"/>
                <a:gd name="T31" fmla="*/ 0 h 62"/>
                <a:gd name="T32" fmla="*/ 39 w 39"/>
                <a:gd name="T33" fmla="*/ 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62">
                  <a:moveTo>
                    <a:pt x="39" y="7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0" y="10"/>
                    <a:pt x="26" y="8"/>
                    <a:pt x="22" y="8"/>
                  </a:cubicBezTo>
                  <a:cubicBezTo>
                    <a:pt x="13" y="8"/>
                    <a:pt x="10" y="13"/>
                    <a:pt x="10" y="17"/>
                  </a:cubicBezTo>
                  <a:cubicBezTo>
                    <a:pt x="10" y="22"/>
                    <a:pt x="14" y="24"/>
                    <a:pt x="19" y="26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5" y="31"/>
                    <a:pt x="39" y="35"/>
                    <a:pt x="39" y="44"/>
                  </a:cubicBezTo>
                  <a:cubicBezTo>
                    <a:pt x="39" y="54"/>
                    <a:pt x="31" y="62"/>
                    <a:pt x="19" y="62"/>
                  </a:cubicBezTo>
                  <a:cubicBezTo>
                    <a:pt x="11" y="62"/>
                    <a:pt x="4" y="59"/>
                    <a:pt x="0" y="54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9" y="52"/>
                    <a:pt x="14" y="54"/>
                    <a:pt x="19" y="54"/>
                  </a:cubicBezTo>
                  <a:cubicBezTo>
                    <a:pt x="25" y="54"/>
                    <a:pt x="31" y="51"/>
                    <a:pt x="31" y="44"/>
                  </a:cubicBezTo>
                  <a:cubicBezTo>
                    <a:pt x="31" y="40"/>
                    <a:pt x="28" y="38"/>
                    <a:pt x="21" y="36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8" y="31"/>
                    <a:pt x="2" y="27"/>
                    <a:pt x="2" y="17"/>
                  </a:cubicBezTo>
                  <a:cubicBezTo>
                    <a:pt x="2" y="9"/>
                    <a:pt x="9" y="0"/>
                    <a:pt x="22" y="0"/>
                  </a:cubicBezTo>
                  <a:cubicBezTo>
                    <a:pt x="30" y="0"/>
                    <a:pt x="35" y="3"/>
                    <a:pt x="3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17"/>
            <p:cNvSpPr>
              <a:spLocks noEditPoints="1"/>
            </p:cNvSpPr>
            <p:nvPr/>
          </p:nvSpPr>
          <p:spPr bwMode="auto">
            <a:xfrm>
              <a:off x="2012950" y="850900"/>
              <a:ext cx="82550" cy="84138"/>
            </a:xfrm>
            <a:custGeom>
              <a:avLst/>
              <a:gdLst>
                <a:gd name="T0" fmla="*/ 40 w 40"/>
                <a:gd name="T1" fmla="*/ 21 h 41"/>
                <a:gd name="T2" fmla="*/ 40 w 40"/>
                <a:gd name="T3" fmla="*/ 23 h 41"/>
                <a:gd name="T4" fmla="*/ 8 w 40"/>
                <a:gd name="T5" fmla="*/ 23 h 41"/>
                <a:gd name="T6" fmla="*/ 21 w 40"/>
                <a:gd name="T7" fmla="*/ 35 h 41"/>
                <a:gd name="T8" fmla="*/ 32 w 40"/>
                <a:gd name="T9" fmla="*/ 29 h 41"/>
                <a:gd name="T10" fmla="*/ 38 w 40"/>
                <a:gd name="T11" fmla="*/ 33 h 41"/>
                <a:gd name="T12" fmla="*/ 20 w 40"/>
                <a:gd name="T13" fmla="*/ 41 h 41"/>
                <a:gd name="T14" fmla="*/ 0 w 40"/>
                <a:gd name="T15" fmla="*/ 21 h 41"/>
                <a:gd name="T16" fmla="*/ 20 w 40"/>
                <a:gd name="T17" fmla="*/ 0 h 41"/>
                <a:gd name="T18" fmla="*/ 40 w 40"/>
                <a:gd name="T19" fmla="*/ 21 h 41"/>
                <a:gd name="T20" fmla="*/ 32 w 40"/>
                <a:gd name="T21" fmla="*/ 17 h 41"/>
                <a:gd name="T22" fmla="*/ 20 w 40"/>
                <a:gd name="T23" fmla="*/ 6 h 41"/>
                <a:gd name="T24" fmla="*/ 8 w 40"/>
                <a:gd name="T25" fmla="*/ 17 h 41"/>
                <a:gd name="T26" fmla="*/ 32 w 40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40" y="21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5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4" y="39"/>
                    <a:pt x="28" y="41"/>
                    <a:pt x="20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8"/>
                    <a:pt x="40" y="21"/>
                  </a:cubicBezTo>
                  <a:close/>
                  <a:moveTo>
                    <a:pt x="32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18"/>
            <p:cNvSpPr>
              <a:spLocks/>
            </p:cNvSpPr>
            <p:nvPr/>
          </p:nvSpPr>
          <p:spPr bwMode="auto">
            <a:xfrm>
              <a:off x="2117725" y="850900"/>
              <a:ext cx="47625" cy="82550"/>
            </a:xfrm>
            <a:custGeom>
              <a:avLst/>
              <a:gdLst>
                <a:gd name="T0" fmla="*/ 23 w 23"/>
                <a:gd name="T1" fmla="*/ 1 h 40"/>
                <a:gd name="T2" fmla="*/ 22 w 23"/>
                <a:gd name="T3" fmla="*/ 9 h 40"/>
                <a:gd name="T4" fmla="*/ 19 w 23"/>
                <a:gd name="T5" fmla="*/ 8 h 40"/>
                <a:gd name="T6" fmla="*/ 7 w 23"/>
                <a:gd name="T7" fmla="*/ 20 h 40"/>
                <a:gd name="T8" fmla="*/ 7 w 23"/>
                <a:gd name="T9" fmla="*/ 40 h 40"/>
                <a:gd name="T10" fmla="*/ 0 w 23"/>
                <a:gd name="T11" fmla="*/ 40 h 40"/>
                <a:gd name="T12" fmla="*/ 0 w 23"/>
                <a:gd name="T13" fmla="*/ 1 h 40"/>
                <a:gd name="T14" fmla="*/ 7 w 23"/>
                <a:gd name="T15" fmla="*/ 1 h 40"/>
                <a:gd name="T16" fmla="*/ 7 w 23"/>
                <a:gd name="T17" fmla="*/ 7 h 40"/>
                <a:gd name="T18" fmla="*/ 8 w 23"/>
                <a:gd name="T19" fmla="*/ 7 h 40"/>
                <a:gd name="T20" fmla="*/ 19 w 23"/>
                <a:gd name="T21" fmla="*/ 0 h 40"/>
                <a:gd name="T22" fmla="*/ 23 w 23"/>
                <a:gd name="T2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40">
                  <a:moveTo>
                    <a:pt x="23" y="1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21" y="8"/>
                    <a:pt x="20" y="8"/>
                    <a:pt x="19" y="8"/>
                  </a:cubicBezTo>
                  <a:cubicBezTo>
                    <a:pt x="11" y="8"/>
                    <a:pt x="7" y="12"/>
                    <a:pt x="7" y="2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0" y="3"/>
                    <a:pt x="14" y="0"/>
                    <a:pt x="19" y="0"/>
                  </a:cubicBezTo>
                  <a:cubicBezTo>
                    <a:pt x="21" y="0"/>
                    <a:pt x="22" y="0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9"/>
            <p:cNvSpPr>
              <a:spLocks/>
            </p:cNvSpPr>
            <p:nvPr/>
          </p:nvSpPr>
          <p:spPr bwMode="auto">
            <a:xfrm>
              <a:off x="2176463" y="852488"/>
              <a:ext cx="82550" cy="80963"/>
            </a:xfrm>
            <a:custGeom>
              <a:avLst/>
              <a:gdLst>
                <a:gd name="T0" fmla="*/ 12 w 52"/>
                <a:gd name="T1" fmla="*/ 0 h 51"/>
                <a:gd name="T2" fmla="*/ 27 w 52"/>
                <a:gd name="T3" fmla="*/ 39 h 51"/>
                <a:gd name="T4" fmla="*/ 42 w 52"/>
                <a:gd name="T5" fmla="*/ 0 h 51"/>
                <a:gd name="T6" fmla="*/ 52 w 52"/>
                <a:gd name="T7" fmla="*/ 0 h 51"/>
                <a:gd name="T8" fmla="*/ 31 w 52"/>
                <a:gd name="T9" fmla="*/ 51 h 51"/>
                <a:gd name="T10" fmla="*/ 21 w 52"/>
                <a:gd name="T11" fmla="*/ 51 h 51"/>
                <a:gd name="T12" fmla="*/ 0 w 52"/>
                <a:gd name="T13" fmla="*/ 0 h 51"/>
                <a:gd name="T14" fmla="*/ 12 w 52"/>
                <a:gd name="T1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51">
                  <a:moveTo>
                    <a:pt x="12" y="0"/>
                  </a:moveTo>
                  <a:lnTo>
                    <a:pt x="27" y="39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31" y="51"/>
                  </a:lnTo>
                  <a:lnTo>
                    <a:pt x="21" y="51"/>
                  </a:ln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20"/>
            <p:cNvSpPr>
              <a:spLocks noEditPoints="1"/>
            </p:cNvSpPr>
            <p:nvPr/>
          </p:nvSpPr>
          <p:spPr bwMode="auto">
            <a:xfrm>
              <a:off x="2274888" y="812800"/>
              <a:ext cx="23812" cy="120650"/>
            </a:xfrm>
            <a:custGeom>
              <a:avLst/>
              <a:gdLst>
                <a:gd name="T0" fmla="*/ 11 w 11"/>
                <a:gd name="T1" fmla="*/ 5 h 58"/>
                <a:gd name="T2" fmla="*/ 5 w 11"/>
                <a:gd name="T3" fmla="*/ 10 h 58"/>
                <a:gd name="T4" fmla="*/ 0 w 11"/>
                <a:gd name="T5" fmla="*/ 5 h 58"/>
                <a:gd name="T6" fmla="*/ 5 w 11"/>
                <a:gd name="T7" fmla="*/ 0 h 58"/>
                <a:gd name="T8" fmla="*/ 11 w 11"/>
                <a:gd name="T9" fmla="*/ 5 h 58"/>
                <a:gd name="T10" fmla="*/ 9 w 11"/>
                <a:gd name="T11" fmla="*/ 19 h 58"/>
                <a:gd name="T12" fmla="*/ 9 w 11"/>
                <a:gd name="T13" fmla="*/ 58 h 58"/>
                <a:gd name="T14" fmla="*/ 1 w 11"/>
                <a:gd name="T15" fmla="*/ 58 h 58"/>
                <a:gd name="T16" fmla="*/ 1 w 11"/>
                <a:gd name="T17" fmla="*/ 19 h 58"/>
                <a:gd name="T18" fmla="*/ 9 w 11"/>
                <a:gd name="T19" fmla="*/ 1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58">
                  <a:moveTo>
                    <a:pt x="11" y="5"/>
                  </a:moveTo>
                  <a:cubicBezTo>
                    <a:pt x="11" y="8"/>
                    <a:pt x="8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lose/>
                  <a:moveTo>
                    <a:pt x="9" y="19"/>
                  </a:moveTo>
                  <a:cubicBezTo>
                    <a:pt x="9" y="58"/>
                    <a:pt x="9" y="58"/>
                    <a:pt x="9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19"/>
                    <a:pt x="1" y="19"/>
                    <a:pt x="1" y="19"/>
                  </a:cubicBezTo>
                  <a:lnTo>
                    <a:pt x="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21"/>
            <p:cNvSpPr>
              <a:spLocks/>
            </p:cNvSpPr>
            <p:nvPr/>
          </p:nvSpPr>
          <p:spPr bwMode="auto">
            <a:xfrm>
              <a:off x="2319338" y="850900"/>
              <a:ext cx="74612" cy="84138"/>
            </a:xfrm>
            <a:custGeom>
              <a:avLst/>
              <a:gdLst>
                <a:gd name="T0" fmla="*/ 36 w 36"/>
                <a:gd name="T1" fmla="*/ 6 h 41"/>
                <a:gd name="T2" fmla="*/ 30 w 36"/>
                <a:gd name="T3" fmla="*/ 11 h 41"/>
                <a:gd name="T4" fmla="*/ 20 w 36"/>
                <a:gd name="T5" fmla="*/ 7 h 41"/>
                <a:gd name="T6" fmla="*/ 8 w 36"/>
                <a:gd name="T7" fmla="*/ 21 h 41"/>
                <a:gd name="T8" fmla="*/ 21 w 36"/>
                <a:gd name="T9" fmla="*/ 34 h 41"/>
                <a:gd name="T10" fmla="*/ 30 w 36"/>
                <a:gd name="T11" fmla="*/ 30 h 41"/>
                <a:gd name="T12" fmla="*/ 36 w 36"/>
                <a:gd name="T13" fmla="*/ 35 h 41"/>
                <a:gd name="T14" fmla="*/ 21 w 36"/>
                <a:gd name="T15" fmla="*/ 41 h 41"/>
                <a:gd name="T16" fmla="*/ 0 w 36"/>
                <a:gd name="T17" fmla="*/ 21 h 41"/>
                <a:gd name="T18" fmla="*/ 21 w 36"/>
                <a:gd name="T19" fmla="*/ 0 h 41"/>
                <a:gd name="T20" fmla="*/ 36 w 36"/>
                <a:gd name="T21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41">
                  <a:moveTo>
                    <a:pt x="36" y="6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27" y="9"/>
                    <a:pt x="24" y="7"/>
                    <a:pt x="20" y="7"/>
                  </a:cubicBezTo>
                  <a:cubicBezTo>
                    <a:pt x="13" y="7"/>
                    <a:pt x="8" y="13"/>
                    <a:pt x="8" y="21"/>
                  </a:cubicBezTo>
                  <a:cubicBezTo>
                    <a:pt x="8" y="29"/>
                    <a:pt x="13" y="34"/>
                    <a:pt x="21" y="34"/>
                  </a:cubicBezTo>
                  <a:cubicBezTo>
                    <a:pt x="25" y="34"/>
                    <a:pt x="28" y="33"/>
                    <a:pt x="30" y="30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2" y="40"/>
                    <a:pt x="26" y="41"/>
                    <a:pt x="21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26" y="0"/>
                    <a:pt x="32" y="2"/>
                    <a:pt x="3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22"/>
            <p:cNvSpPr>
              <a:spLocks noEditPoints="1"/>
            </p:cNvSpPr>
            <p:nvPr/>
          </p:nvSpPr>
          <p:spPr bwMode="auto">
            <a:xfrm>
              <a:off x="2406650" y="850900"/>
              <a:ext cx="79375" cy="84138"/>
            </a:xfrm>
            <a:custGeom>
              <a:avLst/>
              <a:gdLst>
                <a:gd name="T0" fmla="*/ 39 w 39"/>
                <a:gd name="T1" fmla="*/ 21 h 41"/>
                <a:gd name="T2" fmla="*/ 39 w 39"/>
                <a:gd name="T3" fmla="*/ 23 h 41"/>
                <a:gd name="T4" fmla="*/ 8 w 39"/>
                <a:gd name="T5" fmla="*/ 23 h 41"/>
                <a:gd name="T6" fmla="*/ 21 w 39"/>
                <a:gd name="T7" fmla="*/ 35 h 41"/>
                <a:gd name="T8" fmla="*/ 32 w 39"/>
                <a:gd name="T9" fmla="*/ 29 h 41"/>
                <a:gd name="T10" fmla="*/ 38 w 39"/>
                <a:gd name="T11" fmla="*/ 33 h 41"/>
                <a:gd name="T12" fmla="*/ 20 w 39"/>
                <a:gd name="T13" fmla="*/ 41 h 41"/>
                <a:gd name="T14" fmla="*/ 0 w 39"/>
                <a:gd name="T15" fmla="*/ 21 h 41"/>
                <a:gd name="T16" fmla="*/ 20 w 39"/>
                <a:gd name="T17" fmla="*/ 0 h 41"/>
                <a:gd name="T18" fmla="*/ 39 w 39"/>
                <a:gd name="T19" fmla="*/ 21 h 41"/>
                <a:gd name="T20" fmla="*/ 31 w 39"/>
                <a:gd name="T21" fmla="*/ 17 h 41"/>
                <a:gd name="T22" fmla="*/ 20 w 39"/>
                <a:gd name="T23" fmla="*/ 6 h 41"/>
                <a:gd name="T24" fmla="*/ 8 w 39"/>
                <a:gd name="T25" fmla="*/ 17 h 41"/>
                <a:gd name="T26" fmla="*/ 31 w 39"/>
                <a:gd name="T27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1">
                  <a:moveTo>
                    <a:pt x="39" y="21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30"/>
                    <a:pt x="14" y="35"/>
                    <a:pt x="21" y="35"/>
                  </a:cubicBezTo>
                  <a:cubicBezTo>
                    <a:pt x="26" y="35"/>
                    <a:pt x="29" y="32"/>
                    <a:pt x="32" y="29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3" y="39"/>
                    <a:pt x="28" y="41"/>
                    <a:pt x="20" y="41"/>
                  </a:cubicBezTo>
                  <a:cubicBezTo>
                    <a:pt x="9" y="41"/>
                    <a:pt x="0" y="33"/>
                    <a:pt x="0" y="21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39" y="8"/>
                    <a:pt x="39" y="21"/>
                  </a:cubicBezTo>
                  <a:close/>
                  <a:moveTo>
                    <a:pt x="31" y="17"/>
                  </a:moveTo>
                  <a:cubicBezTo>
                    <a:pt x="31" y="10"/>
                    <a:pt x="27" y="6"/>
                    <a:pt x="20" y="6"/>
                  </a:cubicBezTo>
                  <a:cubicBezTo>
                    <a:pt x="12" y="6"/>
                    <a:pt x="8" y="13"/>
                    <a:pt x="8" y="17"/>
                  </a:cubicBezTo>
                  <a:lnTo>
                    <a:pt x="3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6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3515497"/>
            <a:ext cx="2844800" cy="95807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216"/>
              </a:spcBef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Presenter Titl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47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539141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TITLE SLIDE HEADLINE COPY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6875" y="2506663"/>
            <a:ext cx="2849563" cy="909637"/>
          </a:xfrm>
        </p:spPr>
        <p:txBody>
          <a:bodyPr vert="horz" lIns="0" tIns="0" rIns="0" bIns="0" rtlCol="0">
            <a:noAutofit/>
          </a:bodyPr>
          <a:lstStyle>
            <a:lvl1pPr marL="169200" indent="-169200">
              <a:buNone/>
              <a:defRPr lang="en-US" sz="1400" b="0" cap="all" spc="0" baseline="0" smtClean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bg-BG">
                <a:solidFill>
                  <a:schemeClr val="bg1"/>
                </a:solidFill>
              </a:defRPr>
            </a:lvl5pPr>
          </a:lstStyle>
          <a:p>
            <a:pPr marL="0" lvl="0" indent="0"/>
            <a:r>
              <a:rPr lang="en-US" dirty="0"/>
              <a:t>OPTIONAL SUB-HEADLINE</a:t>
            </a:r>
          </a:p>
        </p:txBody>
      </p:sp>
    </p:spTree>
    <p:extLst>
      <p:ext uri="{BB962C8B-B14F-4D97-AF65-F5344CB8AC3E}">
        <p14:creationId xmlns:p14="http://schemas.microsoft.com/office/powerpoint/2010/main" val="2696736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G -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8"/>
          <a:stretch/>
        </p:blipFill>
        <p:spPr>
          <a:xfrm>
            <a:off x="0" y="6531"/>
            <a:ext cx="9144000" cy="4880566"/>
          </a:xfrm>
          <a:prstGeom prst="rect">
            <a:avLst/>
          </a:prstGeom>
        </p:spPr>
      </p:pic>
      <p:sp>
        <p:nvSpPr>
          <p:cNvPr id="3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2150577"/>
            <a:ext cx="4541236" cy="371694"/>
          </a:xfrm>
        </p:spPr>
        <p:txBody>
          <a:bodyPr/>
          <a:lstStyle>
            <a:lvl1pPr marL="0" indent="0">
              <a:buNone/>
              <a:defRPr sz="16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DIVIDER SUB-HEADLINE COPY</a:t>
            </a:r>
          </a:p>
        </p:txBody>
      </p:sp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1153812"/>
            <a:ext cx="4738416" cy="9015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  <a:defRPr lang="de-DE" sz="28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32"/>
              </a:spcBef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dirty="0"/>
              <a:t>CLICK TO EDIT DIVIDER SLIDE HEADLINE COPY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240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2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96736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6" descr="corner2.jpg"/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4757351"/>
            <a:ext cx="9144000" cy="38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5380" y="4960856"/>
            <a:ext cx="3168000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3" name="TextBox 22"/>
          <p:cNvSpPr txBox="1">
            <a:spLocks noChangeArrowheads="1"/>
          </p:cNvSpPr>
          <p:nvPr/>
        </p:nvSpPr>
        <p:spPr bwMode="auto">
          <a:xfrm>
            <a:off x="395290" y="4961778"/>
            <a:ext cx="28009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14038-F777-4D6C-BF39-F3C9BE8830C2}" type="slidenum">
              <a:rPr lang="en-US" sz="6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600" dirty="0">
                <a:solidFill>
                  <a:srgbClr val="038299"/>
                </a:solidFill>
                <a:latin typeface="+mn-lt"/>
                <a:cs typeface="Arial" panose="020B0604020202020204" pitchFamily="34" charset="0"/>
              </a:rPr>
              <a:t>  </a:t>
            </a: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itchFamily="34" charset="0"/>
              </a:rPr>
              <a:t>  |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5289" y="1131888"/>
            <a:ext cx="8353424" cy="3372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204" y="4812913"/>
            <a:ext cx="1124509" cy="280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389464" y="206375"/>
            <a:ext cx="8229600" cy="42862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de-DE" dirty="0"/>
              <a:t>CLICK TO ADD HEADLINE </a:t>
            </a:r>
          </a:p>
        </p:txBody>
      </p:sp>
    </p:spTree>
    <p:extLst>
      <p:ext uri="{BB962C8B-B14F-4D97-AF65-F5344CB8AC3E}">
        <p14:creationId xmlns:p14="http://schemas.microsoft.com/office/powerpoint/2010/main" val="1864611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19" r:id="rId3"/>
    <p:sldLayoutId id="2147483697" r:id="rId4"/>
    <p:sldLayoutId id="2147483715" r:id="rId5"/>
    <p:sldLayoutId id="2147483698" r:id="rId6"/>
    <p:sldLayoutId id="2147483699" r:id="rId7"/>
    <p:sldLayoutId id="2147483701" r:id="rId8"/>
    <p:sldLayoutId id="2147483700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694" r:id="rId15"/>
    <p:sldLayoutId id="2147483704" r:id="rId16"/>
    <p:sldLayoutId id="2147483705" r:id="rId17"/>
    <p:sldLayoutId id="2147483695" r:id="rId18"/>
    <p:sldLayoutId id="2147483720" r:id="rId19"/>
    <p:sldLayoutId id="2147483706" r:id="rId20"/>
    <p:sldLayoutId id="2147483654" r:id="rId21"/>
    <p:sldLayoutId id="2147483728" r:id="rId22"/>
    <p:sldLayoutId id="2147483727" r:id="rId23"/>
    <p:sldLayoutId id="2147483729" r:id="rId24"/>
    <p:sldLayoutId id="2147483655" r:id="rId25"/>
  </p:sldLayoutIdLst>
  <p:hf sldNum="0" hdr="0" dt="0"/>
  <p:txStyles>
    <p:titleStyle>
      <a:lvl1pPr marL="0" algn="l" defTabSz="685800" rtl="0" eaLnBrk="1" latinLnBrk="0" hangingPunct="1">
        <a:lnSpc>
          <a:spcPct val="100000"/>
        </a:lnSpc>
        <a:spcBef>
          <a:spcPts val="432"/>
        </a:spcBef>
        <a:buClr>
          <a:schemeClr val="accent3"/>
        </a:buClr>
        <a:buFont typeface="Arial" panose="020B0604020202020204" pitchFamily="34" charset="0"/>
        <a:buNone/>
        <a:defRPr lang="de-DE" sz="2200" b="1" kern="1200" cap="all" baseline="0" dirty="0" smtClean="0">
          <a:solidFill>
            <a:schemeClr val="bg2"/>
          </a:solidFill>
          <a:latin typeface="+mn-lt"/>
          <a:ea typeface="+mn-ea"/>
          <a:cs typeface="+mn-cs"/>
        </a:defRPr>
      </a:lvl1pPr>
    </p:titleStyle>
    <p:bodyStyle>
      <a:lvl1pPr marL="169200" indent="-169200" algn="l" defTabSz="685800" rtl="0" eaLnBrk="1" latinLnBrk="0" hangingPunct="1">
        <a:lnSpc>
          <a:spcPct val="100000"/>
        </a:lnSpc>
        <a:spcBef>
          <a:spcPts val="432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00" indent="-230400" algn="l" defTabSz="685800" rtl="0" eaLnBrk="1" latinLnBrk="0" hangingPunct="1">
        <a:lnSpc>
          <a:spcPct val="100000"/>
        </a:lnSpc>
        <a:spcBef>
          <a:spcPts val="384"/>
        </a:spcBef>
        <a:buClr>
          <a:schemeClr val="accent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7600" indent="-169200" algn="l" defTabSz="685800" rtl="0" eaLnBrk="1" latinLnBrk="0" hangingPunct="1">
        <a:lnSpc>
          <a:spcPct val="100000"/>
        </a:lnSpc>
        <a:spcBef>
          <a:spcPts val="336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72000" indent="-176400" algn="l" defTabSz="685800" rtl="0" eaLnBrk="1" latinLnBrk="0" hangingPunct="1">
        <a:lnSpc>
          <a:spcPct val="100000"/>
        </a:lnSpc>
        <a:spcBef>
          <a:spcPts val="288"/>
        </a:spcBef>
        <a:buClr>
          <a:schemeClr val="accent3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200" indent="-230400" algn="l" defTabSz="685800" rtl="0" eaLnBrk="1" latinLnBrk="0" hangingPunct="1">
        <a:lnSpc>
          <a:spcPct val="100000"/>
        </a:lnSpc>
        <a:spcBef>
          <a:spcPts val="480"/>
        </a:spcBef>
        <a:buClr>
          <a:schemeClr val="bg1">
            <a:lumMod val="50000"/>
          </a:schemeClr>
        </a:buClr>
        <a:buFont typeface="Arial" panose="020B0604020202020204" pitchFamily="34" charset="0"/>
        <a:buChar char="»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13" userDrawn="1">
          <p15:clr>
            <a:srgbClr val="F26B43"/>
          </p15:clr>
        </p15:guide>
        <p15:guide id="2" pos="249" userDrawn="1">
          <p15:clr>
            <a:srgbClr val="F26B43"/>
          </p15:clr>
        </p15:guide>
        <p15:guide id="3" pos="5511" userDrawn="1">
          <p15:clr>
            <a:srgbClr val="F26B43"/>
          </p15:clr>
        </p15:guide>
        <p15:guide id="4" orient="horz" pos="71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notesSlide" Target="../notesSlides/notesSlide2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slideLayout" Target="../slideLayouts/slideLayout23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3" Type="http://schemas.openxmlformats.org/officeDocument/2006/relationships/tags" Target="../tags/tag69.xml"/><Relationship Id="rId21" Type="http://schemas.openxmlformats.org/officeDocument/2006/relationships/slideLayout" Target="../slideLayouts/slideLayout23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0" Type="http://schemas.openxmlformats.org/officeDocument/2006/relationships/tags" Target="../tags/tag86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26" Type="http://schemas.openxmlformats.org/officeDocument/2006/relationships/tags" Target="../tags/tag112.xml"/><Relationship Id="rId39" Type="http://schemas.openxmlformats.org/officeDocument/2006/relationships/tags" Target="../tags/tag125.xml"/><Relationship Id="rId21" Type="http://schemas.openxmlformats.org/officeDocument/2006/relationships/tags" Target="../tags/tag107.xml"/><Relationship Id="rId34" Type="http://schemas.openxmlformats.org/officeDocument/2006/relationships/tags" Target="../tags/tag120.xml"/><Relationship Id="rId42" Type="http://schemas.openxmlformats.org/officeDocument/2006/relationships/tags" Target="../tags/tag128.xml"/><Relationship Id="rId47" Type="http://schemas.openxmlformats.org/officeDocument/2006/relationships/tags" Target="../tags/tag133.xml"/><Relationship Id="rId50" Type="http://schemas.openxmlformats.org/officeDocument/2006/relationships/tags" Target="../tags/tag136.xml"/><Relationship Id="rId55" Type="http://schemas.openxmlformats.org/officeDocument/2006/relationships/tags" Target="../tags/tag141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9" Type="http://schemas.openxmlformats.org/officeDocument/2006/relationships/tags" Target="../tags/tag115.xml"/><Relationship Id="rId11" Type="http://schemas.openxmlformats.org/officeDocument/2006/relationships/tags" Target="../tags/tag97.xml"/><Relationship Id="rId24" Type="http://schemas.openxmlformats.org/officeDocument/2006/relationships/tags" Target="../tags/tag110.xml"/><Relationship Id="rId32" Type="http://schemas.openxmlformats.org/officeDocument/2006/relationships/tags" Target="../tags/tag118.xml"/><Relationship Id="rId37" Type="http://schemas.openxmlformats.org/officeDocument/2006/relationships/tags" Target="../tags/tag123.xml"/><Relationship Id="rId40" Type="http://schemas.openxmlformats.org/officeDocument/2006/relationships/tags" Target="../tags/tag126.xml"/><Relationship Id="rId45" Type="http://schemas.openxmlformats.org/officeDocument/2006/relationships/tags" Target="../tags/tag131.xml"/><Relationship Id="rId53" Type="http://schemas.openxmlformats.org/officeDocument/2006/relationships/tags" Target="../tags/tag139.xml"/><Relationship Id="rId58" Type="http://schemas.openxmlformats.org/officeDocument/2006/relationships/notesSlide" Target="../notesSlides/notesSlide4.xml"/><Relationship Id="rId5" Type="http://schemas.openxmlformats.org/officeDocument/2006/relationships/tags" Target="../tags/tag91.xml"/><Relationship Id="rId19" Type="http://schemas.openxmlformats.org/officeDocument/2006/relationships/tags" Target="../tags/tag105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43" Type="http://schemas.openxmlformats.org/officeDocument/2006/relationships/tags" Target="../tags/tag129.xml"/><Relationship Id="rId48" Type="http://schemas.openxmlformats.org/officeDocument/2006/relationships/tags" Target="../tags/tag134.xml"/><Relationship Id="rId56" Type="http://schemas.openxmlformats.org/officeDocument/2006/relationships/tags" Target="../tags/tag142.xml"/><Relationship Id="rId8" Type="http://schemas.openxmlformats.org/officeDocument/2006/relationships/tags" Target="../tags/tag94.xml"/><Relationship Id="rId51" Type="http://schemas.openxmlformats.org/officeDocument/2006/relationships/tags" Target="../tags/tag137.xml"/><Relationship Id="rId3" Type="http://schemas.openxmlformats.org/officeDocument/2006/relationships/tags" Target="../tags/tag89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5" Type="http://schemas.openxmlformats.org/officeDocument/2006/relationships/tags" Target="../tags/tag111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46" Type="http://schemas.openxmlformats.org/officeDocument/2006/relationships/tags" Target="../tags/tag132.xml"/><Relationship Id="rId59" Type="http://schemas.openxmlformats.org/officeDocument/2006/relationships/image" Target="../media/image17.png"/><Relationship Id="rId20" Type="http://schemas.openxmlformats.org/officeDocument/2006/relationships/tags" Target="../tags/tag106.xml"/><Relationship Id="rId41" Type="http://schemas.openxmlformats.org/officeDocument/2006/relationships/tags" Target="../tags/tag127.xml"/><Relationship Id="rId54" Type="http://schemas.openxmlformats.org/officeDocument/2006/relationships/tags" Target="../tags/tag140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5" Type="http://schemas.openxmlformats.org/officeDocument/2006/relationships/tags" Target="../tags/tag101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36" Type="http://schemas.openxmlformats.org/officeDocument/2006/relationships/tags" Target="../tags/tag122.xml"/><Relationship Id="rId49" Type="http://schemas.openxmlformats.org/officeDocument/2006/relationships/tags" Target="../tags/tag135.xml"/><Relationship Id="rId57" Type="http://schemas.openxmlformats.org/officeDocument/2006/relationships/slideLayout" Target="../slideLayouts/slideLayout23.xml"/><Relationship Id="rId10" Type="http://schemas.openxmlformats.org/officeDocument/2006/relationships/tags" Target="../tags/tag96.xml"/><Relationship Id="rId31" Type="http://schemas.openxmlformats.org/officeDocument/2006/relationships/tags" Target="../tags/tag117.xml"/><Relationship Id="rId44" Type="http://schemas.openxmlformats.org/officeDocument/2006/relationships/tags" Target="../tags/tag130.xml"/><Relationship Id="rId52" Type="http://schemas.openxmlformats.org/officeDocument/2006/relationships/tags" Target="../tags/tag13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17D7E0-D1A5-4011-B943-E2D0F430C6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050" b="1" dirty="0"/>
              <a:t>Tom Thaler</a:t>
            </a:r>
          </a:p>
          <a:p>
            <a:r>
              <a:rPr lang="en-US" dirty="0"/>
              <a:t>Senior Product Manager ARI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AAF8D94-89CE-4989-8F18-316880CD0B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 e2e proposa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477700A-5E60-483C-801A-509032214B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WG Demo</a:t>
            </a:r>
          </a:p>
        </p:txBody>
      </p:sp>
    </p:spTree>
    <p:extLst>
      <p:ext uri="{BB962C8B-B14F-4D97-AF65-F5344CB8AC3E}">
        <p14:creationId xmlns:p14="http://schemas.microsoft.com/office/powerpoint/2010/main" val="1683660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>
                <a:solidFill>
                  <a:prstClr val="white">
                    <a:lumMod val="65000"/>
                  </a:prstClr>
                </a:solidFill>
              </a:rPr>
              <a:t>© 2020 Software AG. All rights reserved.</a:t>
            </a:r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45720" rIns="91440" bIns="45720" rtlCol="0" anchor="ctr">
            <a:normAutofit/>
          </a:bodyPr>
          <a:lstStyle/>
          <a:p>
            <a:r>
              <a:rPr lang="en-US" dirty="0" err="1"/>
              <a:t>Miwg</a:t>
            </a:r>
            <a:r>
              <a:rPr lang="en-US" dirty="0"/>
              <a:t> demo 2020</a:t>
            </a:r>
            <a:endParaRPr lang="en-US" cap="al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/>
        <p:txBody>
          <a:bodyPr vert="horz" lIns="0" tIns="0" rIns="0" bIns="0" rtlCol="0">
            <a:noAutofit/>
          </a:bodyPr>
          <a:lstStyle/>
          <a:p>
            <a:r>
              <a:rPr lang="en-US" sz="2000" dirty="0"/>
              <a:t>An end to </a:t>
            </a:r>
            <a:r>
              <a:rPr lang="en-US" sz="2000"/>
              <a:t>end proposal</a:t>
            </a:r>
            <a:endParaRPr lang="en-US" sz="2000" dirty="0"/>
          </a:p>
        </p:txBody>
      </p:sp>
      <p:sp>
        <p:nvSpPr>
          <p:cNvPr id="76" name="Arc 75"/>
          <p:cNvSpPr>
            <a:spLocks noChangeAspect="1"/>
          </p:cNvSpPr>
          <p:nvPr>
            <p:custDataLst>
              <p:tags r:id="rId5"/>
            </p:custDataLst>
          </p:nvPr>
        </p:nvSpPr>
        <p:spPr>
          <a:xfrm rot="16200000">
            <a:off x="1163748" y="2702228"/>
            <a:ext cx="760818" cy="714242"/>
          </a:xfrm>
          <a:prstGeom prst="arc">
            <a:avLst>
              <a:gd name="adj1" fmla="val 16200000"/>
              <a:gd name="adj2" fmla="val 66898"/>
            </a:avLst>
          </a:prstGeom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7" name="Arc 76"/>
          <p:cNvSpPr>
            <a:spLocks noChangeAspect="1"/>
          </p:cNvSpPr>
          <p:nvPr>
            <p:custDataLst>
              <p:tags r:id="rId6"/>
            </p:custDataLst>
          </p:nvPr>
        </p:nvSpPr>
        <p:spPr>
          <a:xfrm rot="10800000">
            <a:off x="1200293" y="3200342"/>
            <a:ext cx="714242" cy="760818"/>
          </a:xfrm>
          <a:prstGeom prst="arc">
            <a:avLst>
              <a:gd name="adj1" fmla="val 16200000"/>
              <a:gd name="adj2" fmla="val 66898"/>
            </a:avLst>
          </a:prstGeom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7" name="Arc 66"/>
          <p:cNvSpPr>
            <a:spLocks noChangeAspect="1"/>
          </p:cNvSpPr>
          <p:nvPr/>
        </p:nvSpPr>
        <p:spPr>
          <a:xfrm rot="5400000">
            <a:off x="7065227" y="1948793"/>
            <a:ext cx="714252" cy="714243"/>
          </a:xfrm>
          <a:prstGeom prst="arc">
            <a:avLst>
              <a:gd name="adj1" fmla="val 15965619"/>
              <a:gd name="adj2" fmla="val 66898"/>
            </a:avLst>
          </a:prstGeom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5" name="Arc 64"/>
          <p:cNvSpPr>
            <a:spLocks noChangeAspect="1"/>
          </p:cNvSpPr>
          <p:nvPr/>
        </p:nvSpPr>
        <p:spPr>
          <a:xfrm>
            <a:off x="7065231" y="1382406"/>
            <a:ext cx="714243" cy="714244"/>
          </a:xfrm>
          <a:prstGeom prst="arc">
            <a:avLst>
              <a:gd name="adj1" fmla="val 16200000"/>
              <a:gd name="adj2" fmla="val 66898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cxnSp>
        <p:nvCxnSpPr>
          <p:cNvPr id="6" name="Straight Connector 5"/>
          <p:cNvCxnSpPr>
            <a:cxnSpLocks/>
            <a:endCxn id="16" idx="2"/>
          </p:cNvCxnSpPr>
          <p:nvPr>
            <p:custDataLst>
              <p:tags r:id="rId7"/>
            </p:custDataLst>
          </p:nvPr>
        </p:nvCxnSpPr>
        <p:spPr>
          <a:xfrm>
            <a:off x="1285901" y="1383074"/>
            <a:ext cx="1421997" cy="413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/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2707898" y="1280041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8" name="Straight Connector 7"/>
          <p:cNvCxnSpPr>
            <a:cxnSpLocks/>
            <a:stCxn id="38" idx="6"/>
          </p:cNvCxnSpPr>
          <p:nvPr>
            <p:custDataLst>
              <p:tags r:id="rId9"/>
            </p:custDataLst>
          </p:nvPr>
        </p:nvCxnSpPr>
        <p:spPr>
          <a:xfrm flipV="1">
            <a:off x="6389129" y="2662973"/>
            <a:ext cx="1026275" cy="8142"/>
          </a:xfrm>
          <a:prstGeom prst="line">
            <a:avLst/>
          </a:prstGeom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  <a:endCxn id="44" idx="2"/>
          </p:cNvCxnSpPr>
          <p:nvPr>
            <p:custDataLst>
              <p:tags r:id="rId10"/>
            </p:custDataLst>
          </p:nvPr>
        </p:nvCxnSpPr>
        <p:spPr>
          <a:xfrm>
            <a:off x="3729016" y="3961700"/>
            <a:ext cx="2361782" cy="0"/>
          </a:xfrm>
          <a:prstGeom prst="line">
            <a:avLst/>
          </a:prstGeom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939320" y="3070510"/>
            <a:ext cx="487839" cy="487839"/>
          </a:xfrm>
          <a:prstGeom prst="ellipse">
            <a:avLst/>
          </a:prstGeom>
          <a:solidFill>
            <a:srgbClr val="31ABD6"/>
          </a:solidFill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79" tIns="34289" rIns="68579" bIns="34289"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8" name="Oval 37"/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6182238" y="2567669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2" name="TextBox 41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3487178" y="4102278"/>
            <a:ext cx="1450505" cy="37702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rgbClr val="31ABD6"/>
                </a:solidFill>
              </a:rPr>
              <a:t>APPROVE IMPLEMENTATION</a:t>
            </a:r>
          </a:p>
        </p:txBody>
      </p:sp>
      <p:sp>
        <p:nvSpPr>
          <p:cNvPr id="44" name="Oval 43"/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6090798" y="3858254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6" name="TextBox 45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5247016" y="4105955"/>
            <a:ext cx="1845695" cy="223136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rgbClr val="31ABD6"/>
                </a:solidFill>
              </a:rPr>
              <a:t>ROLL-OUT to EMPLOYEES</a:t>
            </a:r>
          </a:p>
        </p:txBody>
      </p:sp>
      <p:sp>
        <p:nvSpPr>
          <p:cNvPr id="17" name="Oval 16"/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7475594" y="1743488"/>
            <a:ext cx="558934" cy="558934"/>
          </a:xfrm>
          <a:prstGeom prst="ellipse">
            <a:avLst/>
          </a:prstGeom>
          <a:solidFill>
            <a:schemeClr val="accent5"/>
          </a:solidFill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79" tIns="34289" rIns="68579" bIns="34289"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2" name="TextBox 91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2221071" y="1465552"/>
            <a:ext cx="1164420" cy="223136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chemeClr val="accent5"/>
                </a:solidFill>
              </a:rPr>
              <a:t>CREATE MODEL</a:t>
            </a:r>
          </a:p>
        </p:txBody>
      </p:sp>
      <p:sp>
        <p:nvSpPr>
          <p:cNvPr id="93" name="TextBox 92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4829918" y="1463559"/>
            <a:ext cx="1129154" cy="223136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1100" b="1" kern="0" cap="all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z="1000" dirty="0">
                <a:solidFill>
                  <a:schemeClr val="accent5"/>
                </a:solidFill>
              </a:rPr>
              <a:t>ENRICH MODEL</a:t>
            </a:r>
          </a:p>
        </p:txBody>
      </p:sp>
      <p:sp>
        <p:nvSpPr>
          <p:cNvPr id="96" name="TextBox 95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4552019" y="1637387"/>
            <a:ext cx="1642748" cy="16158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COLLABORATION</a:t>
            </a:r>
          </a:p>
        </p:txBody>
      </p:sp>
      <p:sp>
        <p:nvSpPr>
          <p:cNvPr id="102" name="TextBox 101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5522338" y="2795773"/>
            <a:ext cx="1526698" cy="223136"/>
          </a:xfrm>
          <a:prstGeom prst="rect">
            <a:avLst/>
          </a:prstGeom>
          <a:noFill/>
          <a:ln>
            <a:noFill/>
          </a:ln>
        </p:spPr>
        <p:txBody>
          <a:bodyPr wrap="non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rgbClr val="989898"/>
                </a:solidFill>
              </a:rPr>
              <a:t>AUTOMATE PROCESS</a:t>
            </a:r>
          </a:p>
        </p:txBody>
      </p:sp>
      <p:sp>
        <p:nvSpPr>
          <p:cNvPr id="103" name="TextBox 102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5464309" y="2972718"/>
            <a:ext cx="1642748" cy="346247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Implementation / INDIVIDUALLY, with slightly changes coming through the automation</a:t>
            </a:r>
          </a:p>
        </p:txBody>
      </p:sp>
      <p:sp>
        <p:nvSpPr>
          <p:cNvPr id="105" name="TextBox 104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5372869" y="4274274"/>
            <a:ext cx="1642748" cy="25391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HOW THE PROCESS CONSUMER SEE THE PROCESS</a:t>
            </a:r>
          </a:p>
        </p:txBody>
      </p:sp>
      <p:sp>
        <p:nvSpPr>
          <p:cNvPr id="127" name="POWER_USER_ID_ICONS_Board"/>
          <p:cNvSpPr>
            <a:spLocks noChangeAspect="1" noEditPoints="1"/>
          </p:cNvSpPr>
          <p:nvPr>
            <p:custDataLst>
              <p:tags r:id="rId23"/>
            </p:custDataLst>
          </p:nvPr>
        </p:nvSpPr>
        <p:spPr bwMode="auto">
          <a:xfrm>
            <a:off x="7608545" y="1827225"/>
            <a:ext cx="293032" cy="372311"/>
          </a:xfrm>
          <a:custGeom>
            <a:avLst/>
            <a:gdLst>
              <a:gd name="T0" fmla="*/ 516 w 567"/>
              <a:gd name="T1" fmla="*/ 239 h 719"/>
              <a:gd name="T2" fmla="*/ 497 w 567"/>
              <a:gd name="T3" fmla="*/ 268 h 719"/>
              <a:gd name="T4" fmla="*/ 327 w 567"/>
              <a:gd name="T5" fmla="*/ 393 h 719"/>
              <a:gd name="T6" fmla="*/ 309 w 567"/>
              <a:gd name="T7" fmla="*/ 411 h 719"/>
              <a:gd name="T8" fmla="*/ 261 w 567"/>
              <a:gd name="T9" fmla="*/ 428 h 719"/>
              <a:gd name="T10" fmla="*/ 233 w 567"/>
              <a:gd name="T11" fmla="*/ 260 h 719"/>
              <a:gd name="T12" fmla="*/ 233 w 567"/>
              <a:gd name="T13" fmla="*/ 257 h 719"/>
              <a:gd name="T14" fmla="*/ 96 w 567"/>
              <a:gd name="T15" fmla="*/ 440 h 719"/>
              <a:gd name="T16" fmla="*/ 75 w 567"/>
              <a:gd name="T17" fmla="*/ 452 h 719"/>
              <a:gd name="T18" fmla="*/ 62 w 567"/>
              <a:gd name="T19" fmla="*/ 448 h 719"/>
              <a:gd name="T20" fmla="*/ 54 w 567"/>
              <a:gd name="T21" fmla="*/ 414 h 719"/>
              <a:gd name="T22" fmla="*/ 253 w 567"/>
              <a:gd name="T23" fmla="*/ 203 h 719"/>
              <a:gd name="T24" fmla="*/ 283 w 567"/>
              <a:gd name="T25" fmla="*/ 260 h 719"/>
              <a:gd name="T26" fmla="*/ 285 w 567"/>
              <a:gd name="T27" fmla="*/ 365 h 719"/>
              <a:gd name="T28" fmla="*/ 291 w 567"/>
              <a:gd name="T29" fmla="*/ 359 h 719"/>
              <a:gd name="T30" fmla="*/ 487 w 567"/>
              <a:gd name="T31" fmla="*/ 219 h 719"/>
              <a:gd name="T32" fmla="*/ 516 w 567"/>
              <a:gd name="T33" fmla="*/ 239 h 719"/>
              <a:gd name="T34" fmla="*/ 222 w 567"/>
              <a:gd name="T35" fmla="*/ 3 h 719"/>
              <a:gd name="T36" fmla="*/ 192 w 567"/>
              <a:gd name="T37" fmla="*/ 22 h 719"/>
              <a:gd name="T38" fmla="*/ 172 w 567"/>
              <a:gd name="T39" fmla="*/ 110 h 719"/>
              <a:gd name="T40" fmla="*/ 133 w 567"/>
              <a:gd name="T41" fmla="*/ 110 h 719"/>
              <a:gd name="T42" fmla="*/ 110 w 567"/>
              <a:gd name="T43" fmla="*/ 127 h 719"/>
              <a:gd name="T44" fmla="*/ 35 w 567"/>
              <a:gd name="T45" fmla="*/ 127 h 719"/>
              <a:gd name="T46" fmla="*/ 0 w 567"/>
              <a:gd name="T47" fmla="*/ 156 h 719"/>
              <a:gd name="T48" fmla="*/ 0 w 567"/>
              <a:gd name="T49" fmla="*/ 464 h 719"/>
              <a:gd name="T50" fmla="*/ 35 w 567"/>
              <a:gd name="T51" fmla="*/ 494 h 719"/>
              <a:gd name="T52" fmla="*/ 86 w 567"/>
              <a:gd name="T53" fmla="*/ 494 h 719"/>
              <a:gd name="T54" fmla="*/ 42 w 567"/>
              <a:gd name="T55" fmla="*/ 688 h 719"/>
              <a:gd name="T56" fmla="*/ 61 w 567"/>
              <a:gd name="T57" fmla="*/ 718 h 719"/>
              <a:gd name="T58" fmla="*/ 67 w 567"/>
              <a:gd name="T59" fmla="*/ 719 h 719"/>
              <a:gd name="T60" fmla="*/ 91 w 567"/>
              <a:gd name="T61" fmla="*/ 699 h 719"/>
              <a:gd name="T62" fmla="*/ 130 w 567"/>
              <a:gd name="T63" fmla="*/ 527 h 719"/>
              <a:gd name="T64" fmla="*/ 133 w 567"/>
              <a:gd name="T65" fmla="*/ 527 h 719"/>
              <a:gd name="T66" fmla="*/ 258 w 567"/>
              <a:gd name="T67" fmla="*/ 527 h 719"/>
              <a:gd name="T68" fmla="*/ 258 w 567"/>
              <a:gd name="T69" fmla="*/ 694 h 719"/>
              <a:gd name="T70" fmla="*/ 283 w 567"/>
              <a:gd name="T71" fmla="*/ 719 h 719"/>
              <a:gd name="T72" fmla="*/ 308 w 567"/>
              <a:gd name="T73" fmla="*/ 694 h 719"/>
              <a:gd name="T74" fmla="*/ 308 w 567"/>
              <a:gd name="T75" fmla="*/ 527 h 719"/>
              <a:gd name="T76" fmla="*/ 433 w 567"/>
              <a:gd name="T77" fmla="*/ 527 h 719"/>
              <a:gd name="T78" fmla="*/ 441 w 567"/>
              <a:gd name="T79" fmla="*/ 526 h 719"/>
              <a:gd name="T80" fmla="*/ 475 w 567"/>
              <a:gd name="T81" fmla="*/ 699 h 719"/>
              <a:gd name="T82" fmla="*/ 500 w 567"/>
              <a:gd name="T83" fmla="*/ 719 h 719"/>
              <a:gd name="T84" fmla="*/ 505 w 567"/>
              <a:gd name="T85" fmla="*/ 718 h 719"/>
              <a:gd name="T86" fmla="*/ 525 w 567"/>
              <a:gd name="T87" fmla="*/ 689 h 719"/>
              <a:gd name="T88" fmla="*/ 485 w 567"/>
              <a:gd name="T89" fmla="*/ 494 h 719"/>
              <a:gd name="T90" fmla="*/ 531 w 567"/>
              <a:gd name="T91" fmla="*/ 494 h 719"/>
              <a:gd name="T92" fmla="*/ 567 w 567"/>
              <a:gd name="T93" fmla="*/ 464 h 719"/>
              <a:gd name="T94" fmla="*/ 567 w 567"/>
              <a:gd name="T95" fmla="*/ 156 h 719"/>
              <a:gd name="T96" fmla="*/ 531 w 567"/>
              <a:gd name="T97" fmla="*/ 127 h 719"/>
              <a:gd name="T98" fmla="*/ 457 w 567"/>
              <a:gd name="T99" fmla="*/ 127 h 719"/>
              <a:gd name="T100" fmla="*/ 433 w 567"/>
              <a:gd name="T101" fmla="*/ 110 h 719"/>
              <a:gd name="T102" fmla="*/ 409 w 567"/>
              <a:gd name="T103" fmla="*/ 110 h 719"/>
              <a:gd name="T104" fmla="*/ 391 w 567"/>
              <a:gd name="T105" fmla="*/ 22 h 719"/>
              <a:gd name="T106" fmla="*/ 362 w 567"/>
              <a:gd name="T107" fmla="*/ 2 h 719"/>
              <a:gd name="T108" fmla="*/ 342 w 567"/>
              <a:gd name="T109" fmla="*/ 32 h 719"/>
              <a:gd name="T110" fmla="*/ 358 w 567"/>
              <a:gd name="T111" fmla="*/ 110 h 719"/>
              <a:gd name="T112" fmla="*/ 224 w 567"/>
              <a:gd name="T113" fmla="*/ 110 h 719"/>
              <a:gd name="T114" fmla="*/ 241 w 567"/>
              <a:gd name="T115" fmla="*/ 32 h 719"/>
              <a:gd name="T116" fmla="*/ 222 w 567"/>
              <a:gd name="T117" fmla="*/ 3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67" h="719">
                <a:moveTo>
                  <a:pt x="516" y="239"/>
                </a:moveTo>
                <a:cubicBezTo>
                  <a:pt x="519" y="252"/>
                  <a:pt x="510" y="265"/>
                  <a:pt x="497" y="268"/>
                </a:cubicBezTo>
                <a:cubicBezTo>
                  <a:pt x="433" y="281"/>
                  <a:pt x="364" y="354"/>
                  <a:pt x="327" y="393"/>
                </a:cubicBezTo>
                <a:cubicBezTo>
                  <a:pt x="320" y="400"/>
                  <a:pt x="314" y="406"/>
                  <a:pt x="309" y="411"/>
                </a:cubicBezTo>
                <a:cubicBezTo>
                  <a:pt x="302" y="418"/>
                  <a:pt x="283" y="437"/>
                  <a:pt x="261" y="428"/>
                </a:cubicBezTo>
                <a:cubicBezTo>
                  <a:pt x="233" y="417"/>
                  <a:pt x="233" y="387"/>
                  <a:pt x="233" y="260"/>
                </a:cubicBezTo>
                <a:cubicBezTo>
                  <a:pt x="233" y="259"/>
                  <a:pt x="233" y="258"/>
                  <a:pt x="233" y="257"/>
                </a:cubicBezTo>
                <a:cubicBezTo>
                  <a:pt x="205" y="280"/>
                  <a:pt x="148" y="356"/>
                  <a:pt x="96" y="440"/>
                </a:cubicBezTo>
                <a:cubicBezTo>
                  <a:pt x="92" y="448"/>
                  <a:pt x="83" y="452"/>
                  <a:pt x="75" y="452"/>
                </a:cubicBezTo>
                <a:cubicBezTo>
                  <a:pt x="71" y="452"/>
                  <a:pt x="66" y="451"/>
                  <a:pt x="62" y="448"/>
                </a:cubicBezTo>
                <a:cubicBezTo>
                  <a:pt x="50" y="441"/>
                  <a:pt x="46" y="426"/>
                  <a:pt x="54" y="414"/>
                </a:cubicBezTo>
                <a:cubicBezTo>
                  <a:pt x="193" y="186"/>
                  <a:pt x="238" y="198"/>
                  <a:pt x="253" y="203"/>
                </a:cubicBezTo>
                <a:cubicBezTo>
                  <a:pt x="273" y="208"/>
                  <a:pt x="283" y="228"/>
                  <a:pt x="283" y="260"/>
                </a:cubicBezTo>
                <a:cubicBezTo>
                  <a:pt x="283" y="302"/>
                  <a:pt x="283" y="341"/>
                  <a:pt x="285" y="365"/>
                </a:cubicBezTo>
                <a:cubicBezTo>
                  <a:pt x="287" y="363"/>
                  <a:pt x="289" y="361"/>
                  <a:pt x="291" y="359"/>
                </a:cubicBezTo>
                <a:cubicBezTo>
                  <a:pt x="331" y="316"/>
                  <a:pt x="407" y="235"/>
                  <a:pt x="487" y="219"/>
                </a:cubicBezTo>
                <a:cubicBezTo>
                  <a:pt x="500" y="216"/>
                  <a:pt x="513" y="225"/>
                  <a:pt x="516" y="239"/>
                </a:cubicBezTo>
                <a:close/>
                <a:moveTo>
                  <a:pt x="222" y="3"/>
                </a:moveTo>
                <a:cubicBezTo>
                  <a:pt x="209" y="0"/>
                  <a:pt x="195" y="8"/>
                  <a:pt x="192" y="22"/>
                </a:cubicBezTo>
                <a:lnTo>
                  <a:pt x="172" y="110"/>
                </a:lnTo>
                <a:lnTo>
                  <a:pt x="133" y="110"/>
                </a:lnTo>
                <a:cubicBezTo>
                  <a:pt x="122" y="110"/>
                  <a:pt x="113" y="117"/>
                  <a:pt x="110" y="127"/>
                </a:cubicBezTo>
                <a:lnTo>
                  <a:pt x="35" y="127"/>
                </a:lnTo>
                <a:cubicBezTo>
                  <a:pt x="16" y="127"/>
                  <a:pt x="0" y="140"/>
                  <a:pt x="0" y="156"/>
                </a:cubicBezTo>
                <a:lnTo>
                  <a:pt x="0" y="464"/>
                </a:lnTo>
                <a:cubicBezTo>
                  <a:pt x="0" y="481"/>
                  <a:pt x="16" y="494"/>
                  <a:pt x="35" y="494"/>
                </a:cubicBezTo>
                <a:lnTo>
                  <a:pt x="86" y="494"/>
                </a:lnTo>
                <a:lnTo>
                  <a:pt x="42" y="688"/>
                </a:lnTo>
                <a:cubicBezTo>
                  <a:pt x="39" y="702"/>
                  <a:pt x="48" y="715"/>
                  <a:pt x="61" y="718"/>
                </a:cubicBezTo>
                <a:cubicBezTo>
                  <a:pt x="63" y="718"/>
                  <a:pt x="65" y="719"/>
                  <a:pt x="67" y="719"/>
                </a:cubicBezTo>
                <a:cubicBezTo>
                  <a:pt x="78" y="719"/>
                  <a:pt x="88" y="711"/>
                  <a:pt x="91" y="699"/>
                </a:cubicBezTo>
                <a:lnTo>
                  <a:pt x="130" y="527"/>
                </a:lnTo>
                <a:cubicBezTo>
                  <a:pt x="131" y="527"/>
                  <a:pt x="132" y="527"/>
                  <a:pt x="133" y="527"/>
                </a:cubicBezTo>
                <a:lnTo>
                  <a:pt x="258" y="527"/>
                </a:lnTo>
                <a:lnTo>
                  <a:pt x="258" y="694"/>
                </a:lnTo>
                <a:cubicBezTo>
                  <a:pt x="258" y="707"/>
                  <a:pt x="270" y="719"/>
                  <a:pt x="283" y="719"/>
                </a:cubicBezTo>
                <a:cubicBezTo>
                  <a:pt x="297" y="719"/>
                  <a:pt x="308" y="707"/>
                  <a:pt x="308" y="694"/>
                </a:cubicBezTo>
                <a:lnTo>
                  <a:pt x="308" y="527"/>
                </a:lnTo>
                <a:lnTo>
                  <a:pt x="433" y="527"/>
                </a:lnTo>
                <a:cubicBezTo>
                  <a:pt x="436" y="527"/>
                  <a:pt x="439" y="526"/>
                  <a:pt x="441" y="526"/>
                </a:cubicBezTo>
                <a:lnTo>
                  <a:pt x="475" y="699"/>
                </a:lnTo>
                <a:cubicBezTo>
                  <a:pt x="478" y="710"/>
                  <a:pt x="488" y="719"/>
                  <a:pt x="500" y="719"/>
                </a:cubicBezTo>
                <a:cubicBezTo>
                  <a:pt x="502" y="719"/>
                  <a:pt x="503" y="719"/>
                  <a:pt x="505" y="718"/>
                </a:cubicBezTo>
                <a:cubicBezTo>
                  <a:pt x="518" y="715"/>
                  <a:pt x="527" y="702"/>
                  <a:pt x="525" y="689"/>
                </a:cubicBezTo>
                <a:lnTo>
                  <a:pt x="485" y="494"/>
                </a:lnTo>
                <a:lnTo>
                  <a:pt x="531" y="494"/>
                </a:lnTo>
                <a:cubicBezTo>
                  <a:pt x="551" y="494"/>
                  <a:pt x="567" y="481"/>
                  <a:pt x="567" y="464"/>
                </a:cubicBezTo>
                <a:lnTo>
                  <a:pt x="567" y="156"/>
                </a:lnTo>
                <a:cubicBezTo>
                  <a:pt x="567" y="140"/>
                  <a:pt x="551" y="127"/>
                  <a:pt x="531" y="127"/>
                </a:cubicBezTo>
                <a:lnTo>
                  <a:pt x="457" y="127"/>
                </a:lnTo>
                <a:cubicBezTo>
                  <a:pt x="453" y="117"/>
                  <a:pt x="444" y="110"/>
                  <a:pt x="433" y="110"/>
                </a:cubicBezTo>
                <a:lnTo>
                  <a:pt x="409" y="110"/>
                </a:lnTo>
                <a:lnTo>
                  <a:pt x="391" y="22"/>
                </a:lnTo>
                <a:cubicBezTo>
                  <a:pt x="388" y="9"/>
                  <a:pt x="375" y="0"/>
                  <a:pt x="362" y="2"/>
                </a:cubicBezTo>
                <a:cubicBezTo>
                  <a:pt x="348" y="5"/>
                  <a:pt x="339" y="18"/>
                  <a:pt x="342" y="32"/>
                </a:cubicBezTo>
                <a:lnTo>
                  <a:pt x="358" y="110"/>
                </a:lnTo>
                <a:lnTo>
                  <a:pt x="224" y="110"/>
                </a:lnTo>
                <a:lnTo>
                  <a:pt x="241" y="32"/>
                </a:lnTo>
                <a:cubicBezTo>
                  <a:pt x="244" y="19"/>
                  <a:pt x="236" y="6"/>
                  <a:pt x="222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40" name="POWER_USER_ID_ICONS_Flag5"/>
          <p:cNvGrpSpPr>
            <a:grpSpLocks noChangeAspect="1"/>
          </p:cNvGrpSpPr>
          <p:nvPr>
            <p:custDataLst>
              <p:tags r:id="rId24"/>
            </p:custDataLst>
          </p:nvPr>
        </p:nvGrpSpPr>
        <p:grpSpPr bwMode="auto">
          <a:xfrm>
            <a:off x="826375" y="1258042"/>
            <a:ext cx="342842" cy="441594"/>
            <a:chOff x="8" y="5"/>
            <a:chExt cx="368" cy="474"/>
          </a:xfrm>
          <a:solidFill>
            <a:schemeClr val="bg1">
              <a:lumMod val="65000"/>
            </a:schemeClr>
          </a:solidFill>
        </p:grpSpPr>
        <p:sp>
          <p:nvSpPr>
            <p:cNvPr id="141" name="POWER_USER_ID_ICONS_Flag5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8" y="5"/>
              <a:ext cx="26" cy="474"/>
            </a:xfrm>
            <a:custGeom>
              <a:avLst/>
              <a:gdLst>
                <a:gd name="T0" fmla="*/ 68 w 68"/>
                <a:gd name="T1" fmla="*/ 1223 h 1257"/>
                <a:gd name="T2" fmla="*/ 34 w 68"/>
                <a:gd name="T3" fmla="*/ 1257 h 1257"/>
                <a:gd name="T4" fmla="*/ 34 w 68"/>
                <a:gd name="T5" fmla="*/ 1257 h 1257"/>
                <a:gd name="T6" fmla="*/ 0 w 68"/>
                <a:gd name="T7" fmla="*/ 1223 h 1257"/>
                <a:gd name="T8" fmla="*/ 0 w 68"/>
                <a:gd name="T9" fmla="*/ 34 h 1257"/>
                <a:gd name="T10" fmla="*/ 34 w 68"/>
                <a:gd name="T11" fmla="*/ 0 h 1257"/>
                <a:gd name="T12" fmla="*/ 34 w 68"/>
                <a:gd name="T13" fmla="*/ 0 h 1257"/>
                <a:gd name="T14" fmla="*/ 68 w 68"/>
                <a:gd name="T15" fmla="*/ 34 h 1257"/>
                <a:gd name="T16" fmla="*/ 68 w 68"/>
                <a:gd name="T17" fmla="*/ 1223 h 1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57">
                  <a:moveTo>
                    <a:pt x="68" y="1223"/>
                  </a:moveTo>
                  <a:cubicBezTo>
                    <a:pt x="68" y="1242"/>
                    <a:pt x="53" y="1257"/>
                    <a:pt x="34" y="1257"/>
                  </a:cubicBezTo>
                  <a:lnTo>
                    <a:pt x="34" y="1257"/>
                  </a:lnTo>
                  <a:cubicBezTo>
                    <a:pt x="15" y="1257"/>
                    <a:pt x="0" y="1242"/>
                    <a:pt x="0" y="1223"/>
                  </a:cubicBezTo>
                  <a:lnTo>
                    <a:pt x="0" y="34"/>
                  </a:lnTo>
                  <a:cubicBezTo>
                    <a:pt x="0" y="15"/>
                    <a:pt x="15" y="0"/>
                    <a:pt x="34" y="0"/>
                  </a:cubicBezTo>
                  <a:lnTo>
                    <a:pt x="34" y="0"/>
                  </a:lnTo>
                  <a:cubicBezTo>
                    <a:pt x="53" y="0"/>
                    <a:pt x="68" y="15"/>
                    <a:pt x="68" y="34"/>
                  </a:cubicBezTo>
                  <a:lnTo>
                    <a:pt x="68" y="1223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2" name="POWER_USER_ID_ICONS_Flag5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34" y="26"/>
              <a:ext cx="55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3" name="POWER_USER_ID_ICONS_Flag5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88" y="81"/>
              <a:ext cx="56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4" name="POWER_USER_ID_ICONS_Flag5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34" y="136"/>
              <a:ext cx="55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5" name="POWER_USER_ID_ICONS_Flag5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88" y="191"/>
              <a:ext cx="56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6" name="POWER_USER_ID_ICONS_Flag5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>
              <a:off x="144" y="26"/>
              <a:ext cx="54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7" name="POWER_USER_ID_ICONS_Flag5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>
              <a:off x="198" y="81"/>
              <a:ext cx="55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8" name="POWER_USER_ID_ICONS_Flag5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144" y="136"/>
              <a:ext cx="54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9" name="POWER_USER_ID_ICONS_Flag5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auto">
            <a:xfrm>
              <a:off x="198" y="191"/>
              <a:ext cx="55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0" name="POWER_USER_ID_ICONS_Flag5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auto">
            <a:xfrm>
              <a:off x="253" y="26"/>
              <a:ext cx="56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1" name="POWER_USER_ID_ICONS_Flag5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auto">
            <a:xfrm>
              <a:off x="309" y="81"/>
              <a:ext cx="54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2" name="POWER_USER_ID_ICONS_Flag5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auto">
            <a:xfrm>
              <a:off x="253" y="136"/>
              <a:ext cx="56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3" name="POWER_USER_ID_ICONS_Flag5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309" y="191"/>
              <a:ext cx="54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4" name="POWER_USER_ID_ICONS_Flag5"/>
            <p:cNvSpPr>
              <a:spLocks noEditPoints="1"/>
            </p:cNvSpPr>
            <p:nvPr>
              <p:custDataLst>
                <p:tags r:id="rId66"/>
              </p:custDataLst>
            </p:nvPr>
          </p:nvSpPr>
          <p:spPr bwMode="auto">
            <a:xfrm>
              <a:off x="15" y="15"/>
              <a:ext cx="361" cy="244"/>
            </a:xfrm>
            <a:custGeom>
              <a:avLst/>
              <a:gdLst>
                <a:gd name="T0" fmla="*/ 961 w 961"/>
                <a:gd name="T1" fmla="*/ 648 h 648"/>
                <a:gd name="T2" fmla="*/ 0 w 961"/>
                <a:gd name="T3" fmla="*/ 648 h 648"/>
                <a:gd name="T4" fmla="*/ 0 w 961"/>
                <a:gd name="T5" fmla="*/ 0 h 648"/>
                <a:gd name="T6" fmla="*/ 961 w 961"/>
                <a:gd name="T7" fmla="*/ 0 h 648"/>
                <a:gd name="T8" fmla="*/ 961 w 961"/>
                <a:gd name="T9" fmla="*/ 648 h 648"/>
                <a:gd name="T10" fmla="*/ 33 w 961"/>
                <a:gd name="T11" fmla="*/ 615 h 648"/>
                <a:gd name="T12" fmla="*/ 928 w 961"/>
                <a:gd name="T13" fmla="*/ 615 h 648"/>
                <a:gd name="T14" fmla="*/ 928 w 961"/>
                <a:gd name="T15" fmla="*/ 33 h 648"/>
                <a:gd name="T16" fmla="*/ 33 w 961"/>
                <a:gd name="T17" fmla="*/ 33 h 648"/>
                <a:gd name="T18" fmla="*/ 33 w 961"/>
                <a:gd name="T19" fmla="*/ 615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1" h="648">
                  <a:moveTo>
                    <a:pt x="961" y="648"/>
                  </a:moveTo>
                  <a:lnTo>
                    <a:pt x="0" y="648"/>
                  </a:lnTo>
                  <a:lnTo>
                    <a:pt x="0" y="0"/>
                  </a:lnTo>
                  <a:lnTo>
                    <a:pt x="961" y="0"/>
                  </a:lnTo>
                  <a:lnTo>
                    <a:pt x="961" y="648"/>
                  </a:lnTo>
                  <a:close/>
                  <a:moveTo>
                    <a:pt x="33" y="615"/>
                  </a:moveTo>
                  <a:lnTo>
                    <a:pt x="928" y="615"/>
                  </a:lnTo>
                  <a:lnTo>
                    <a:pt x="928" y="33"/>
                  </a:lnTo>
                  <a:lnTo>
                    <a:pt x="33" y="33"/>
                  </a:lnTo>
                  <a:lnTo>
                    <a:pt x="33" y="615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</p:grpSp>
      <p:cxnSp>
        <p:nvCxnSpPr>
          <p:cNvPr id="194" name="Straight Connector 193"/>
          <p:cNvCxnSpPr>
            <a:cxnSpLocks/>
          </p:cNvCxnSpPr>
          <p:nvPr>
            <p:custDataLst>
              <p:tags r:id="rId25"/>
            </p:custDataLst>
          </p:nvPr>
        </p:nvCxnSpPr>
        <p:spPr>
          <a:xfrm flipV="1">
            <a:off x="5019639" y="1386182"/>
            <a:ext cx="2137586" cy="3401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>
            <a:cxnSpLocks/>
            <a:stCxn id="16" idx="6"/>
          </p:cNvCxnSpPr>
          <p:nvPr>
            <p:custDataLst>
              <p:tags r:id="rId26"/>
            </p:custDataLst>
          </p:nvPr>
        </p:nvCxnSpPr>
        <p:spPr>
          <a:xfrm>
            <a:off x="2914789" y="1383487"/>
            <a:ext cx="2111319" cy="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/>
          <p:cNvCxnSpPr>
            <a:cxnSpLocks/>
          </p:cNvCxnSpPr>
          <p:nvPr>
            <p:custDataLst>
              <p:tags r:id="rId27"/>
            </p:custDataLst>
          </p:nvPr>
        </p:nvCxnSpPr>
        <p:spPr>
          <a:xfrm>
            <a:off x="6389129" y="1383487"/>
            <a:ext cx="1036852" cy="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>
            <a:cxnSpLocks/>
            <a:stCxn id="184" idx="6"/>
            <a:endCxn id="38" idx="2"/>
          </p:cNvCxnSpPr>
          <p:nvPr>
            <p:custDataLst>
              <p:tags r:id="rId28"/>
            </p:custDataLst>
          </p:nvPr>
        </p:nvCxnSpPr>
        <p:spPr>
          <a:xfrm>
            <a:off x="3350127" y="2661848"/>
            <a:ext cx="2832111" cy="9267"/>
          </a:xfrm>
          <a:prstGeom prst="line">
            <a:avLst/>
          </a:prstGeom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/>
          <p:cNvCxnSpPr>
            <a:cxnSpLocks/>
          </p:cNvCxnSpPr>
          <p:nvPr>
            <p:custDataLst>
              <p:tags r:id="rId29"/>
            </p:custDataLst>
          </p:nvPr>
        </p:nvCxnSpPr>
        <p:spPr>
          <a:xfrm flipV="1">
            <a:off x="1551149" y="2655752"/>
            <a:ext cx="1592087" cy="15364"/>
          </a:xfrm>
          <a:prstGeom prst="line">
            <a:avLst/>
          </a:prstGeom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>
            <a:cxnSpLocks/>
          </p:cNvCxnSpPr>
          <p:nvPr>
            <p:custDataLst>
              <p:tags r:id="rId30"/>
            </p:custDataLst>
          </p:nvPr>
        </p:nvCxnSpPr>
        <p:spPr>
          <a:xfrm>
            <a:off x="1550248" y="3961700"/>
            <a:ext cx="2185237" cy="0"/>
          </a:xfrm>
          <a:prstGeom prst="line">
            <a:avLst/>
          </a:prstGeom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>
            <a:cxnSpLocks/>
            <a:stCxn id="44" idx="6"/>
          </p:cNvCxnSpPr>
          <p:nvPr>
            <p:custDataLst>
              <p:tags r:id="rId31"/>
            </p:custDataLst>
          </p:nvPr>
        </p:nvCxnSpPr>
        <p:spPr>
          <a:xfrm flipV="1">
            <a:off x="6297689" y="3961160"/>
            <a:ext cx="1600148" cy="540"/>
          </a:xfrm>
          <a:prstGeom prst="line">
            <a:avLst/>
          </a:prstGeom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/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7944756" y="3618759"/>
            <a:ext cx="1031799" cy="68480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rgbClr val="006F97"/>
                </a:solidFill>
              </a:rPr>
              <a:t>Successful</a:t>
            </a:r>
          </a:p>
          <a:p>
            <a:pPr algn="ctr">
              <a:defRPr/>
            </a:pPr>
            <a:r>
              <a:rPr lang="en-US" sz="1000" b="1" kern="0" cap="all" dirty="0">
                <a:solidFill>
                  <a:srgbClr val="006F97"/>
                </a:solidFill>
              </a:rPr>
              <a:t>PROCESS</a:t>
            </a:r>
          </a:p>
          <a:p>
            <a:pPr algn="ctr">
              <a:defRPr/>
            </a:pPr>
            <a:r>
              <a:rPr lang="en-US" sz="1000" b="1" kern="0" cap="all" dirty="0">
                <a:solidFill>
                  <a:srgbClr val="006F97"/>
                </a:solidFill>
              </a:rPr>
              <a:t>TRANSFOR-MATION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84EF2FF6-8A0C-4E4D-BDD7-732E70128CE0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8083886" y="1760276"/>
            <a:ext cx="687075" cy="37702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1100" b="1" kern="0" cap="all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z="1000" dirty="0">
                <a:solidFill>
                  <a:prstClr val="white">
                    <a:lumMod val="65000"/>
                  </a:prstClr>
                </a:solidFill>
              </a:rPr>
              <a:t>SHOW RESULT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BEF6A5E2-1113-4CAE-9AD4-EEDD018ACFF6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>
          <a:xfrm>
            <a:off x="8046720" y="2078176"/>
            <a:ext cx="785793" cy="346247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DESIGNED MODEL / INDIVIDUALLY</a:t>
            </a:r>
          </a:p>
        </p:txBody>
      </p:sp>
      <p:grpSp>
        <p:nvGrpSpPr>
          <p:cNvPr id="112" name="POWER_USER_ID_ICONS_Clipboard3">
            <a:extLst>
              <a:ext uri="{FF2B5EF4-FFF2-40B4-BE49-F238E27FC236}">
                <a16:creationId xmlns:a16="http://schemas.microsoft.com/office/drawing/2014/main" id="{1F031516-490B-431E-BE4A-77A9A2288A21}"/>
              </a:ext>
            </a:extLst>
          </p:cNvPr>
          <p:cNvGrpSpPr>
            <a:grpSpLocks noChangeAspect="1"/>
          </p:cNvGrpSpPr>
          <p:nvPr>
            <p:custDataLst>
              <p:tags r:id="rId35"/>
            </p:custDataLst>
          </p:nvPr>
        </p:nvGrpSpPr>
        <p:grpSpPr bwMode="auto">
          <a:xfrm>
            <a:off x="1045188" y="3120213"/>
            <a:ext cx="276102" cy="368419"/>
            <a:chOff x="63" y="9"/>
            <a:chExt cx="326" cy="435"/>
          </a:xfrm>
          <a:solidFill>
            <a:schemeClr val="bg1"/>
          </a:solidFill>
        </p:grpSpPr>
        <p:sp>
          <p:nvSpPr>
            <p:cNvPr id="113" name="POWER_USER_ID_ICONS_Clipboard3">
              <a:extLst>
                <a:ext uri="{FF2B5EF4-FFF2-40B4-BE49-F238E27FC236}">
                  <a16:creationId xmlns:a16="http://schemas.microsoft.com/office/drawing/2014/main" id="{1DAC30AD-5496-40B9-B7D5-924714A7360E}"/>
                </a:ext>
              </a:extLst>
            </p:cNvPr>
            <p:cNvSpPr>
              <a:spLocks noEditPoints="1"/>
            </p:cNvSpPr>
            <p:nvPr>
              <p:custDataLst>
                <p:tags r:id="rId49"/>
              </p:custDataLst>
            </p:nvPr>
          </p:nvSpPr>
          <p:spPr bwMode="auto">
            <a:xfrm>
              <a:off x="63" y="9"/>
              <a:ext cx="326" cy="435"/>
            </a:xfrm>
            <a:custGeom>
              <a:avLst/>
              <a:gdLst>
                <a:gd name="T0" fmla="*/ 206 w 225"/>
                <a:gd name="T1" fmla="*/ 24 h 299"/>
                <a:gd name="T2" fmla="*/ 175 w 225"/>
                <a:gd name="T3" fmla="*/ 24 h 299"/>
                <a:gd name="T4" fmla="*/ 172 w 225"/>
                <a:gd name="T5" fmla="*/ 25 h 299"/>
                <a:gd name="T6" fmla="*/ 150 w 225"/>
                <a:gd name="T7" fmla="*/ 12 h 299"/>
                <a:gd name="T8" fmla="*/ 129 w 225"/>
                <a:gd name="T9" fmla="*/ 12 h 299"/>
                <a:gd name="T10" fmla="*/ 112 w 225"/>
                <a:gd name="T11" fmla="*/ 0 h 299"/>
                <a:gd name="T12" fmla="*/ 95 w 225"/>
                <a:gd name="T13" fmla="*/ 12 h 299"/>
                <a:gd name="T14" fmla="*/ 74 w 225"/>
                <a:gd name="T15" fmla="*/ 12 h 299"/>
                <a:gd name="T16" fmla="*/ 52 w 225"/>
                <a:gd name="T17" fmla="*/ 25 h 299"/>
                <a:gd name="T18" fmla="*/ 50 w 225"/>
                <a:gd name="T19" fmla="*/ 24 h 299"/>
                <a:gd name="T20" fmla="*/ 18 w 225"/>
                <a:gd name="T21" fmla="*/ 24 h 299"/>
                <a:gd name="T22" fmla="*/ 0 w 225"/>
                <a:gd name="T23" fmla="*/ 43 h 299"/>
                <a:gd name="T24" fmla="*/ 0 w 225"/>
                <a:gd name="T25" fmla="*/ 280 h 299"/>
                <a:gd name="T26" fmla="*/ 18 w 225"/>
                <a:gd name="T27" fmla="*/ 299 h 299"/>
                <a:gd name="T28" fmla="*/ 206 w 225"/>
                <a:gd name="T29" fmla="*/ 299 h 299"/>
                <a:gd name="T30" fmla="*/ 225 w 225"/>
                <a:gd name="T31" fmla="*/ 280 h 299"/>
                <a:gd name="T32" fmla="*/ 225 w 225"/>
                <a:gd name="T33" fmla="*/ 43 h 299"/>
                <a:gd name="T34" fmla="*/ 206 w 225"/>
                <a:gd name="T35" fmla="*/ 24 h 299"/>
                <a:gd name="T36" fmla="*/ 62 w 225"/>
                <a:gd name="T37" fmla="*/ 36 h 299"/>
                <a:gd name="T38" fmla="*/ 74 w 225"/>
                <a:gd name="T39" fmla="*/ 24 h 299"/>
                <a:gd name="T40" fmla="*/ 100 w 225"/>
                <a:gd name="T41" fmla="*/ 24 h 299"/>
                <a:gd name="T42" fmla="*/ 100 w 225"/>
                <a:gd name="T43" fmla="*/ 24 h 299"/>
                <a:gd name="T44" fmla="*/ 100 w 225"/>
                <a:gd name="T45" fmla="*/ 24 h 299"/>
                <a:gd name="T46" fmla="*/ 107 w 225"/>
                <a:gd name="T47" fmla="*/ 18 h 299"/>
                <a:gd name="T48" fmla="*/ 112 w 225"/>
                <a:gd name="T49" fmla="*/ 12 h 299"/>
                <a:gd name="T50" fmla="*/ 117 w 225"/>
                <a:gd name="T51" fmla="*/ 18 h 299"/>
                <a:gd name="T52" fmla="*/ 124 w 225"/>
                <a:gd name="T53" fmla="*/ 24 h 299"/>
                <a:gd name="T54" fmla="*/ 124 w 225"/>
                <a:gd name="T55" fmla="*/ 24 h 299"/>
                <a:gd name="T56" fmla="*/ 124 w 225"/>
                <a:gd name="T57" fmla="*/ 24 h 299"/>
                <a:gd name="T58" fmla="*/ 150 w 225"/>
                <a:gd name="T59" fmla="*/ 24 h 299"/>
                <a:gd name="T60" fmla="*/ 162 w 225"/>
                <a:gd name="T61" fmla="*/ 36 h 299"/>
                <a:gd name="T62" fmla="*/ 162 w 225"/>
                <a:gd name="T63" fmla="*/ 49 h 299"/>
                <a:gd name="T64" fmla="*/ 62 w 225"/>
                <a:gd name="T65" fmla="*/ 49 h 299"/>
                <a:gd name="T66" fmla="*/ 62 w 225"/>
                <a:gd name="T67" fmla="*/ 36 h 299"/>
                <a:gd name="T68" fmla="*/ 212 w 225"/>
                <a:gd name="T69" fmla="*/ 280 h 299"/>
                <a:gd name="T70" fmla="*/ 206 w 225"/>
                <a:gd name="T71" fmla="*/ 287 h 299"/>
                <a:gd name="T72" fmla="*/ 18 w 225"/>
                <a:gd name="T73" fmla="*/ 287 h 299"/>
                <a:gd name="T74" fmla="*/ 12 w 225"/>
                <a:gd name="T75" fmla="*/ 280 h 299"/>
                <a:gd name="T76" fmla="*/ 12 w 225"/>
                <a:gd name="T77" fmla="*/ 43 h 299"/>
                <a:gd name="T78" fmla="*/ 18 w 225"/>
                <a:gd name="T79" fmla="*/ 37 h 299"/>
                <a:gd name="T80" fmla="*/ 50 w 225"/>
                <a:gd name="T81" fmla="*/ 37 h 299"/>
                <a:gd name="T82" fmla="*/ 50 w 225"/>
                <a:gd name="T83" fmla="*/ 55 h 299"/>
                <a:gd name="T84" fmla="*/ 56 w 225"/>
                <a:gd name="T85" fmla="*/ 62 h 299"/>
                <a:gd name="T86" fmla="*/ 168 w 225"/>
                <a:gd name="T87" fmla="*/ 62 h 299"/>
                <a:gd name="T88" fmla="*/ 175 w 225"/>
                <a:gd name="T89" fmla="*/ 55 h 299"/>
                <a:gd name="T90" fmla="*/ 175 w 225"/>
                <a:gd name="T91" fmla="*/ 37 h 299"/>
                <a:gd name="T92" fmla="*/ 206 w 225"/>
                <a:gd name="T93" fmla="*/ 37 h 299"/>
                <a:gd name="T94" fmla="*/ 212 w 225"/>
                <a:gd name="T95" fmla="*/ 43 h 299"/>
                <a:gd name="T96" fmla="*/ 212 w 225"/>
                <a:gd name="T97" fmla="*/ 28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" h="299">
                  <a:moveTo>
                    <a:pt x="206" y="24"/>
                  </a:moveTo>
                  <a:lnTo>
                    <a:pt x="175" y="24"/>
                  </a:lnTo>
                  <a:cubicBezTo>
                    <a:pt x="173" y="24"/>
                    <a:pt x="173" y="24"/>
                    <a:pt x="172" y="25"/>
                  </a:cubicBezTo>
                  <a:cubicBezTo>
                    <a:pt x="168" y="17"/>
                    <a:pt x="159" y="12"/>
                    <a:pt x="150" y="12"/>
                  </a:cubicBezTo>
                  <a:lnTo>
                    <a:pt x="129" y="12"/>
                  </a:lnTo>
                  <a:cubicBezTo>
                    <a:pt x="126" y="5"/>
                    <a:pt x="120" y="0"/>
                    <a:pt x="112" y="0"/>
                  </a:cubicBezTo>
                  <a:cubicBezTo>
                    <a:pt x="104" y="0"/>
                    <a:pt x="98" y="5"/>
                    <a:pt x="95" y="12"/>
                  </a:cubicBezTo>
                  <a:lnTo>
                    <a:pt x="74" y="12"/>
                  </a:lnTo>
                  <a:cubicBezTo>
                    <a:pt x="65" y="12"/>
                    <a:pt x="56" y="17"/>
                    <a:pt x="52" y="25"/>
                  </a:cubicBezTo>
                  <a:cubicBezTo>
                    <a:pt x="51" y="24"/>
                    <a:pt x="51" y="24"/>
                    <a:pt x="50" y="24"/>
                  </a:cubicBezTo>
                  <a:lnTo>
                    <a:pt x="18" y="24"/>
                  </a:lnTo>
                  <a:cubicBezTo>
                    <a:pt x="8" y="24"/>
                    <a:pt x="0" y="32"/>
                    <a:pt x="0" y="43"/>
                  </a:cubicBezTo>
                  <a:lnTo>
                    <a:pt x="0" y="280"/>
                  </a:lnTo>
                  <a:cubicBezTo>
                    <a:pt x="0" y="291"/>
                    <a:pt x="8" y="299"/>
                    <a:pt x="18" y="299"/>
                  </a:cubicBezTo>
                  <a:lnTo>
                    <a:pt x="206" y="299"/>
                  </a:lnTo>
                  <a:cubicBezTo>
                    <a:pt x="216" y="299"/>
                    <a:pt x="225" y="291"/>
                    <a:pt x="225" y="280"/>
                  </a:cubicBezTo>
                  <a:lnTo>
                    <a:pt x="225" y="43"/>
                  </a:lnTo>
                  <a:cubicBezTo>
                    <a:pt x="225" y="32"/>
                    <a:pt x="216" y="24"/>
                    <a:pt x="206" y="24"/>
                  </a:cubicBezTo>
                  <a:close/>
                  <a:moveTo>
                    <a:pt x="62" y="36"/>
                  </a:moveTo>
                  <a:cubicBezTo>
                    <a:pt x="62" y="29"/>
                    <a:pt x="67" y="24"/>
                    <a:pt x="74" y="24"/>
                  </a:cubicBez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cubicBezTo>
                    <a:pt x="104" y="24"/>
                    <a:pt x="107" y="21"/>
                    <a:pt x="107" y="18"/>
                  </a:cubicBezTo>
                  <a:cubicBezTo>
                    <a:pt x="107" y="15"/>
                    <a:pt x="109" y="12"/>
                    <a:pt x="112" y="12"/>
                  </a:cubicBezTo>
                  <a:cubicBezTo>
                    <a:pt x="115" y="12"/>
                    <a:pt x="117" y="15"/>
                    <a:pt x="117" y="18"/>
                  </a:cubicBezTo>
                  <a:cubicBezTo>
                    <a:pt x="117" y="21"/>
                    <a:pt x="120" y="24"/>
                    <a:pt x="124" y="24"/>
                  </a:cubicBezTo>
                  <a:lnTo>
                    <a:pt x="124" y="24"/>
                  </a:lnTo>
                  <a:lnTo>
                    <a:pt x="124" y="24"/>
                  </a:lnTo>
                  <a:lnTo>
                    <a:pt x="150" y="24"/>
                  </a:lnTo>
                  <a:cubicBezTo>
                    <a:pt x="157" y="24"/>
                    <a:pt x="162" y="29"/>
                    <a:pt x="162" y="36"/>
                  </a:cubicBezTo>
                  <a:lnTo>
                    <a:pt x="162" y="49"/>
                  </a:lnTo>
                  <a:lnTo>
                    <a:pt x="62" y="49"/>
                  </a:lnTo>
                  <a:lnTo>
                    <a:pt x="62" y="36"/>
                  </a:lnTo>
                  <a:close/>
                  <a:moveTo>
                    <a:pt x="212" y="280"/>
                  </a:moveTo>
                  <a:cubicBezTo>
                    <a:pt x="212" y="284"/>
                    <a:pt x="209" y="287"/>
                    <a:pt x="206" y="287"/>
                  </a:cubicBezTo>
                  <a:lnTo>
                    <a:pt x="18" y="287"/>
                  </a:lnTo>
                  <a:cubicBezTo>
                    <a:pt x="15" y="287"/>
                    <a:pt x="12" y="284"/>
                    <a:pt x="12" y="280"/>
                  </a:cubicBezTo>
                  <a:lnTo>
                    <a:pt x="12" y="43"/>
                  </a:lnTo>
                  <a:cubicBezTo>
                    <a:pt x="12" y="39"/>
                    <a:pt x="15" y="37"/>
                    <a:pt x="18" y="37"/>
                  </a:cubicBezTo>
                  <a:lnTo>
                    <a:pt x="50" y="37"/>
                  </a:lnTo>
                  <a:lnTo>
                    <a:pt x="50" y="55"/>
                  </a:lnTo>
                  <a:cubicBezTo>
                    <a:pt x="50" y="59"/>
                    <a:pt x="52" y="62"/>
                    <a:pt x="56" y="62"/>
                  </a:cubicBezTo>
                  <a:lnTo>
                    <a:pt x="168" y="62"/>
                  </a:lnTo>
                  <a:cubicBezTo>
                    <a:pt x="172" y="62"/>
                    <a:pt x="175" y="59"/>
                    <a:pt x="175" y="55"/>
                  </a:cubicBezTo>
                  <a:lnTo>
                    <a:pt x="175" y="37"/>
                  </a:lnTo>
                  <a:lnTo>
                    <a:pt x="206" y="37"/>
                  </a:lnTo>
                  <a:cubicBezTo>
                    <a:pt x="209" y="37"/>
                    <a:pt x="212" y="39"/>
                    <a:pt x="212" y="43"/>
                  </a:cubicBezTo>
                  <a:lnTo>
                    <a:pt x="212" y="28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4" name="POWER_USER_ID_ICONS_Clipboard3">
              <a:extLst>
                <a:ext uri="{FF2B5EF4-FFF2-40B4-BE49-F238E27FC236}">
                  <a16:creationId xmlns:a16="http://schemas.microsoft.com/office/drawing/2014/main" id="{4E2C0E52-2D69-4847-B482-6873E5D359FA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25" y="245"/>
              <a:ext cx="201" cy="17"/>
            </a:xfrm>
            <a:custGeom>
              <a:avLst/>
              <a:gdLst>
                <a:gd name="T0" fmla="*/ 132 w 138"/>
                <a:gd name="T1" fmla="*/ 12 h 12"/>
                <a:gd name="T2" fmla="*/ 7 w 138"/>
                <a:gd name="T3" fmla="*/ 12 h 12"/>
                <a:gd name="T4" fmla="*/ 0 w 138"/>
                <a:gd name="T5" fmla="*/ 6 h 12"/>
                <a:gd name="T6" fmla="*/ 7 w 138"/>
                <a:gd name="T7" fmla="*/ 0 h 12"/>
                <a:gd name="T8" fmla="*/ 132 w 138"/>
                <a:gd name="T9" fmla="*/ 0 h 12"/>
                <a:gd name="T10" fmla="*/ 138 w 138"/>
                <a:gd name="T11" fmla="*/ 6 h 12"/>
                <a:gd name="T12" fmla="*/ 132 w 13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2">
                  <a:moveTo>
                    <a:pt x="132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2"/>
                    <a:pt x="138" y="6"/>
                  </a:cubicBezTo>
                  <a:cubicBezTo>
                    <a:pt x="138" y="9"/>
                    <a:pt x="135" y="12"/>
                    <a:pt x="132" y="12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0" name="POWER_USER_ID_ICONS_Clipboard3">
              <a:extLst>
                <a:ext uri="{FF2B5EF4-FFF2-40B4-BE49-F238E27FC236}">
                  <a16:creationId xmlns:a16="http://schemas.microsoft.com/office/drawing/2014/main" id="{0E9D9479-5510-4277-AEC1-758140B4E39D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125" y="299"/>
              <a:ext cx="201" cy="19"/>
            </a:xfrm>
            <a:custGeom>
              <a:avLst/>
              <a:gdLst>
                <a:gd name="T0" fmla="*/ 132 w 138"/>
                <a:gd name="T1" fmla="*/ 13 h 13"/>
                <a:gd name="T2" fmla="*/ 7 w 138"/>
                <a:gd name="T3" fmla="*/ 13 h 13"/>
                <a:gd name="T4" fmla="*/ 0 w 138"/>
                <a:gd name="T5" fmla="*/ 6 h 13"/>
                <a:gd name="T6" fmla="*/ 7 w 138"/>
                <a:gd name="T7" fmla="*/ 0 h 13"/>
                <a:gd name="T8" fmla="*/ 132 w 138"/>
                <a:gd name="T9" fmla="*/ 0 h 13"/>
                <a:gd name="T10" fmla="*/ 138 w 138"/>
                <a:gd name="T11" fmla="*/ 6 h 13"/>
                <a:gd name="T12" fmla="*/ 132 w 13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3">
                  <a:moveTo>
                    <a:pt x="132" y="13"/>
                  </a:moveTo>
                  <a:lnTo>
                    <a:pt x="7" y="13"/>
                  </a:ln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3"/>
                    <a:pt x="138" y="6"/>
                  </a:cubicBezTo>
                  <a:cubicBezTo>
                    <a:pt x="138" y="10"/>
                    <a:pt x="135" y="13"/>
                    <a:pt x="132" y="13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2" name="POWER_USER_ID_ICONS_Clipboard3">
              <a:extLst>
                <a:ext uri="{FF2B5EF4-FFF2-40B4-BE49-F238E27FC236}">
                  <a16:creationId xmlns:a16="http://schemas.microsoft.com/office/drawing/2014/main" id="{7F1B7016-92B3-47DA-9293-E3CD40A43D1B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125" y="354"/>
              <a:ext cx="109" cy="17"/>
            </a:xfrm>
            <a:custGeom>
              <a:avLst/>
              <a:gdLst>
                <a:gd name="T0" fmla="*/ 69 w 75"/>
                <a:gd name="T1" fmla="*/ 12 h 12"/>
                <a:gd name="T2" fmla="*/ 7 w 75"/>
                <a:gd name="T3" fmla="*/ 12 h 12"/>
                <a:gd name="T4" fmla="*/ 0 w 75"/>
                <a:gd name="T5" fmla="*/ 6 h 12"/>
                <a:gd name="T6" fmla="*/ 7 w 75"/>
                <a:gd name="T7" fmla="*/ 0 h 12"/>
                <a:gd name="T8" fmla="*/ 69 w 75"/>
                <a:gd name="T9" fmla="*/ 0 h 12"/>
                <a:gd name="T10" fmla="*/ 75 w 75"/>
                <a:gd name="T11" fmla="*/ 6 h 12"/>
                <a:gd name="T12" fmla="*/ 69 w 7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">
                  <a:moveTo>
                    <a:pt x="69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69" y="0"/>
                  </a:lnTo>
                  <a:cubicBezTo>
                    <a:pt x="72" y="0"/>
                    <a:pt x="75" y="2"/>
                    <a:pt x="75" y="6"/>
                  </a:cubicBezTo>
                  <a:cubicBezTo>
                    <a:pt x="75" y="9"/>
                    <a:pt x="72" y="12"/>
                    <a:pt x="69" y="12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70" name="TextBox 169">
            <a:extLst>
              <a:ext uri="{FF2B5EF4-FFF2-40B4-BE49-F238E27FC236}">
                <a16:creationId xmlns:a16="http://schemas.microsoft.com/office/drawing/2014/main" id="{6F387E1D-A5E7-4FC7-8939-F20999DCC216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>
          <a:xfrm>
            <a:off x="2529944" y="2789618"/>
            <a:ext cx="1465092" cy="223136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1100" b="1" kern="0" cap="all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z="1000" dirty="0">
                <a:solidFill>
                  <a:prstClr val="white">
                    <a:lumMod val="65000"/>
                  </a:prstClr>
                </a:solidFill>
              </a:rPr>
              <a:t>EXECUTE PROCESS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D5B1B757-1599-48D2-AA3E-9C58BC360C10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>
          <a:xfrm>
            <a:off x="2397326" y="2972452"/>
            <a:ext cx="1730328" cy="16158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INDIVIDUALLY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DE631DEF-2090-4D7E-866F-407A35AE8F4E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>
          <a:xfrm>
            <a:off x="139566" y="3018909"/>
            <a:ext cx="741733" cy="37702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1100" b="1" kern="0" cap="all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z="1000" dirty="0">
                <a:solidFill>
                  <a:schemeClr val="bg2"/>
                </a:solidFill>
              </a:rPr>
              <a:t>ANALYZE DIFF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97D80F25-1FFC-46D3-9ABD-4577CC0363CD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>
          <a:xfrm>
            <a:off x="83542" y="3360474"/>
            <a:ext cx="859830" cy="25391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Design vs. implementation</a:t>
            </a: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99971793-E797-47D1-A918-B057BE4C5918}"/>
              </a:ext>
            </a:extLst>
          </p:cNvPr>
          <p:cNvSpPr>
            <a:spLocks noChangeAspect="1"/>
          </p:cNvSpPr>
          <p:nvPr>
            <p:custDataLst>
              <p:tags r:id="rId40"/>
            </p:custDataLst>
          </p:nvPr>
        </p:nvSpPr>
        <p:spPr>
          <a:xfrm>
            <a:off x="7356258" y="3683634"/>
            <a:ext cx="566281" cy="566281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79" tIns="34289" rIns="68579" bIns="34289"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76" name="POWER_USER_ID_ICONS_Rocket2">
            <a:extLst>
              <a:ext uri="{FF2B5EF4-FFF2-40B4-BE49-F238E27FC236}">
                <a16:creationId xmlns:a16="http://schemas.microsoft.com/office/drawing/2014/main" id="{B921EE3C-2CB5-4A5A-A87C-32412DBD3D18}"/>
              </a:ext>
            </a:extLst>
          </p:cNvPr>
          <p:cNvGrpSpPr>
            <a:grpSpLocks noChangeAspect="1"/>
          </p:cNvGrpSpPr>
          <p:nvPr>
            <p:custDataLst>
              <p:tags r:id="rId41"/>
            </p:custDataLst>
          </p:nvPr>
        </p:nvGrpSpPr>
        <p:grpSpPr bwMode="auto">
          <a:xfrm>
            <a:off x="7484927" y="3814843"/>
            <a:ext cx="310496" cy="307695"/>
            <a:chOff x="2506" y="943"/>
            <a:chExt cx="2548" cy="2525"/>
          </a:xfrm>
          <a:solidFill>
            <a:schemeClr val="bg1"/>
          </a:solidFill>
        </p:grpSpPr>
        <p:sp>
          <p:nvSpPr>
            <p:cNvPr id="177" name="Freeform 619">
              <a:extLst>
                <a:ext uri="{FF2B5EF4-FFF2-40B4-BE49-F238E27FC236}">
                  <a16:creationId xmlns:a16="http://schemas.microsoft.com/office/drawing/2014/main" id="{C4FF1F98-A29D-4287-8068-9790E212A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0" y="2410"/>
              <a:ext cx="1044" cy="1046"/>
            </a:xfrm>
            <a:custGeom>
              <a:avLst/>
              <a:gdLst>
                <a:gd name="T0" fmla="*/ 263 w 263"/>
                <a:gd name="T1" fmla="*/ 94 h 263"/>
                <a:gd name="T2" fmla="*/ 253 w 263"/>
                <a:gd name="T3" fmla="*/ 94 h 263"/>
                <a:gd name="T4" fmla="*/ 234 w 263"/>
                <a:gd name="T5" fmla="*/ 94 h 263"/>
                <a:gd name="T6" fmla="*/ 151 w 263"/>
                <a:gd name="T7" fmla="*/ 159 h 263"/>
                <a:gd name="T8" fmla="*/ 118 w 263"/>
                <a:gd name="T9" fmla="*/ 178 h 263"/>
                <a:gd name="T10" fmla="*/ 95 w 263"/>
                <a:gd name="T11" fmla="*/ 167 h 263"/>
                <a:gd name="T12" fmla="*/ 85 w 263"/>
                <a:gd name="T13" fmla="*/ 144 h 263"/>
                <a:gd name="T14" fmla="*/ 104 w 263"/>
                <a:gd name="T15" fmla="*/ 112 h 263"/>
                <a:gd name="T16" fmla="*/ 106 w 263"/>
                <a:gd name="T17" fmla="*/ 109 h 263"/>
                <a:gd name="T18" fmla="*/ 169 w 263"/>
                <a:gd name="T19" fmla="*/ 29 h 263"/>
                <a:gd name="T20" fmla="*/ 168 w 263"/>
                <a:gd name="T21" fmla="*/ 0 h 263"/>
                <a:gd name="T22" fmla="*/ 146 w 263"/>
                <a:gd name="T23" fmla="*/ 20 h 263"/>
                <a:gd name="T24" fmla="*/ 11 w 263"/>
                <a:gd name="T25" fmla="*/ 252 h 263"/>
                <a:gd name="T26" fmla="*/ 243 w 263"/>
                <a:gd name="T27" fmla="*/ 117 h 263"/>
                <a:gd name="T28" fmla="*/ 263 w 263"/>
                <a:gd name="T29" fmla="*/ 94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263">
                  <a:moveTo>
                    <a:pt x="263" y="94"/>
                  </a:moveTo>
                  <a:cubicBezTo>
                    <a:pt x="259" y="94"/>
                    <a:pt x="256" y="94"/>
                    <a:pt x="253" y="94"/>
                  </a:cubicBezTo>
                  <a:cubicBezTo>
                    <a:pt x="246" y="94"/>
                    <a:pt x="240" y="94"/>
                    <a:pt x="234" y="94"/>
                  </a:cubicBezTo>
                  <a:lnTo>
                    <a:pt x="151" y="159"/>
                  </a:lnTo>
                  <a:cubicBezTo>
                    <a:pt x="142" y="168"/>
                    <a:pt x="132" y="178"/>
                    <a:pt x="118" y="178"/>
                  </a:cubicBezTo>
                  <a:cubicBezTo>
                    <a:pt x="110" y="178"/>
                    <a:pt x="102" y="174"/>
                    <a:pt x="95" y="167"/>
                  </a:cubicBezTo>
                  <a:cubicBezTo>
                    <a:pt x="88" y="160"/>
                    <a:pt x="85" y="153"/>
                    <a:pt x="85" y="144"/>
                  </a:cubicBezTo>
                  <a:cubicBezTo>
                    <a:pt x="85" y="130"/>
                    <a:pt x="95" y="121"/>
                    <a:pt x="104" y="112"/>
                  </a:cubicBezTo>
                  <a:lnTo>
                    <a:pt x="106" y="109"/>
                  </a:lnTo>
                  <a:lnTo>
                    <a:pt x="169" y="29"/>
                  </a:lnTo>
                  <a:cubicBezTo>
                    <a:pt x="168" y="20"/>
                    <a:pt x="168" y="11"/>
                    <a:pt x="168" y="0"/>
                  </a:cubicBezTo>
                  <a:cubicBezTo>
                    <a:pt x="161" y="6"/>
                    <a:pt x="154" y="12"/>
                    <a:pt x="146" y="20"/>
                  </a:cubicBezTo>
                  <a:cubicBezTo>
                    <a:pt x="62" y="104"/>
                    <a:pt x="0" y="242"/>
                    <a:pt x="11" y="252"/>
                  </a:cubicBezTo>
                  <a:cubicBezTo>
                    <a:pt x="21" y="263"/>
                    <a:pt x="158" y="201"/>
                    <a:pt x="243" y="117"/>
                  </a:cubicBezTo>
                  <a:cubicBezTo>
                    <a:pt x="251" y="109"/>
                    <a:pt x="257" y="102"/>
                    <a:pt x="263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8" name="Freeform 620">
              <a:extLst>
                <a:ext uri="{FF2B5EF4-FFF2-40B4-BE49-F238E27FC236}">
                  <a16:creationId xmlns:a16="http://schemas.microsoft.com/office/drawing/2014/main" id="{AA40F49C-7DCC-4134-949A-CD4D47985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40"/>
              <a:ext cx="941" cy="931"/>
            </a:xfrm>
            <a:custGeom>
              <a:avLst/>
              <a:gdLst>
                <a:gd name="T0" fmla="*/ 0 w 237"/>
                <a:gd name="T1" fmla="*/ 234 h 234"/>
                <a:gd name="T2" fmla="*/ 5 w 237"/>
                <a:gd name="T3" fmla="*/ 228 h 234"/>
                <a:gd name="T4" fmla="*/ 10 w 237"/>
                <a:gd name="T5" fmla="*/ 224 h 234"/>
                <a:gd name="T6" fmla="*/ 221 w 237"/>
                <a:gd name="T7" fmla="*/ 60 h 234"/>
                <a:gd name="T8" fmla="*/ 232 w 237"/>
                <a:gd name="T9" fmla="*/ 1 h 234"/>
                <a:gd name="T10" fmla="*/ 223 w 237"/>
                <a:gd name="T11" fmla="*/ 0 h 234"/>
                <a:gd name="T12" fmla="*/ 174 w 237"/>
                <a:gd name="T13" fmla="*/ 13 h 234"/>
                <a:gd name="T14" fmla="*/ 5 w 237"/>
                <a:gd name="T15" fmla="*/ 228 h 234"/>
                <a:gd name="T16" fmla="*/ 0 w 237"/>
                <a:gd name="T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234">
                  <a:moveTo>
                    <a:pt x="0" y="234"/>
                  </a:moveTo>
                  <a:cubicBezTo>
                    <a:pt x="2" y="232"/>
                    <a:pt x="4" y="230"/>
                    <a:pt x="5" y="228"/>
                  </a:cubicBezTo>
                  <a:lnTo>
                    <a:pt x="10" y="224"/>
                  </a:lnTo>
                  <a:lnTo>
                    <a:pt x="221" y="60"/>
                  </a:lnTo>
                  <a:cubicBezTo>
                    <a:pt x="228" y="51"/>
                    <a:pt x="237" y="13"/>
                    <a:pt x="232" y="1"/>
                  </a:cubicBezTo>
                  <a:cubicBezTo>
                    <a:pt x="231" y="1"/>
                    <a:pt x="228" y="0"/>
                    <a:pt x="223" y="0"/>
                  </a:cubicBezTo>
                  <a:cubicBezTo>
                    <a:pt x="203" y="0"/>
                    <a:pt x="180" y="8"/>
                    <a:pt x="174" y="13"/>
                  </a:cubicBezTo>
                  <a:lnTo>
                    <a:pt x="5" y="228"/>
                  </a:lnTo>
                  <a:cubicBezTo>
                    <a:pt x="4" y="230"/>
                    <a:pt x="2" y="232"/>
                    <a:pt x="0" y="2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9" name="Freeform 621">
              <a:extLst>
                <a:ext uri="{FF2B5EF4-FFF2-40B4-BE49-F238E27FC236}">
                  <a16:creationId xmlns:a16="http://schemas.microsoft.com/office/drawing/2014/main" id="{412BF894-3A54-4608-9880-1237A5A10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9" y="2514"/>
              <a:ext cx="1100" cy="954"/>
            </a:xfrm>
            <a:custGeom>
              <a:avLst/>
              <a:gdLst>
                <a:gd name="T0" fmla="*/ 73 w 277"/>
                <a:gd name="T1" fmla="*/ 67 h 240"/>
                <a:gd name="T2" fmla="*/ 11 w 277"/>
                <a:gd name="T3" fmla="*/ 205 h 240"/>
                <a:gd name="T4" fmla="*/ 55 w 277"/>
                <a:gd name="T5" fmla="*/ 221 h 240"/>
                <a:gd name="T6" fmla="*/ 190 w 277"/>
                <a:gd name="T7" fmla="*/ 147 h 240"/>
                <a:gd name="T8" fmla="*/ 276 w 277"/>
                <a:gd name="T9" fmla="*/ 13 h 240"/>
                <a:gd name="T10" fmla="*/ 275 w 277"/>
                <a:gd name="T11" fmla="*/ 0 h 240"/>
                <a:gd name="T12" fmla="*/ 73 w 277"/>
                <a:gd name="T13" fmla="*/ 67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40">
                  <a:moveTo>
                    <a:pt x="73" y="67"/>
                  </a:moveTo>
                  <a:cubicBezTo>
                    <a:pt x="43" y="128"/>
                    <a:pt x="11" y="205"/>
                    <a:pt x="11" y="205"/>
                  </a:cubicBezTo>
                  <a:cubicBezTo>
                    <a:pt x="0" y="225"/>
                    <a:pt x="17" y="240"/>
                    <a:pt x="55" y="221"/>
                  </a:cubicBezTo>
                  <a:lnTo>
                    <a:pt x="190" y="147"/>
                  </a:lnTo>
                  <a:cubicBezTo>
                    <a:pt x="263" y="106"/>
                    <a:pt x="277" y="96"/>
                    <a:pt x="276" y="13"/>
                  </a:cubicBezTo>
                  <a:lnTo>
                    <a:pt x="275" y="0"/>
                  </a:lnTo>
                  <a:cubicBezTo>
                    <a:pt x="209" y="46"/>
                    <a:pt x="134" y="63"/>
                    <a:pt x="73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0" name="Freeform 622">
              <a:extLst>
                <a:ext uri="{FF2B5EF4-FFF2-40B4-BE49-F238E27FC236}">
                  <a16:creationId xmlns:a16="http://schemas.microsoft.com/office/drawing/2014/main" id="{DEFE8A90-9D2E-4269-8374-D97076926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6" y="1511"/>
              <a:ext cx="937" cy="1102"/>
            </a:xfrm>
            <a:custGeom>
              <a:avLst/>
              <a:gdLst>
                <a:gd name="T0" fmla="*/ 35 w 236"/>
                <a:gd name="T1" fmla="*/ 266 h 277"/>
                <a:gd name="T2" fmla="*/ 170 w 236"/>
                <a:gd name="T3" fmla="*/ 206 h 277"/>
                <a:gd name="T4" fmla="*/ 236 w 236"/>
                <a:gd name="T5" fmla="*/ 2 h 277"/>
                <a:gd name="T6" fmla="*/ 227 w 236"/>
                <a:gd name="T7" fmla="*/ 1 h 277"/>
                <a:gd name="T8" fmla="*/ 94 w 236"/>
                <a:gd name="T9" fmla="*/ 87 h 277"/>
                <a:gd name="T10" fmla="*/ 20 w 236"/>
                <a:gd name="T11" fmla="*/ 223 h 277"/>
                <a:gd name="T12" fmla="*/ 35 w 236"/>
                <a:gd name="T13" fmla="*/ 26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6" h="277">
                  <a:moveTo>
                    <a:pt x="35" y="266"/>
                  </a:moveTo>
                  <a:cubicBezTo>
                    <a:pt x="35" y="266"/>
                    <a:pt x="109" y="235"/>
                    <a:pt x="170" y="206"/>
                  </a:cubicBezTo>
                  <a:cubicBezTo>
                    <a:pt x="174" y="147"/>
                    <a:pt x="189" y="70"/>
                    <a:pt x="236" y="2"/>
                  </a:cubicBezTo>
                  <a:lnTo>
                    <a:pt x="227" y="1"/>
                  </a:lnTo>
                  <a:cubicBezTo>
                    <a:pt x="145" y="0"/>
                    <a:pt x="134" y="14"/>
                    <a:pt x="94" y="87"/>
                  </a:cubicBezTo>
                  <a:lnTo>
                    <a:pt x="20" y="223"/>
                  </a:lnTo>
                  <a:cubicBezTo>
                    <a:pt x="0" y="260"/>
                    <a:pt x="15" y="277"/>
                    <a:pt x="35" y="2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3" name="Freeform 623">
              <a:extLst>
                <a:ext uri="{FF2B5EF4-FFF2-40B4-BE49-F238E27FC236}">
                  <a16:creationId xmlns:a16="http://schemas.microsoft.com/office/drawing/2014/main" id="{10534F90-04BB-43BC-863B-DCA8BF7DE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6" y="943"/>
              <a:ext cx="1738" cy="1706"/>
            </a:xfrm>
            <a:custGeom>
              <a:avLst/>
              <a:gdLst>
                <a:gd name="T0" fmla="*/ 367 w 438"/>
                <a:gd name="T1" fmla="*/ 111 h 429"/>
                <a:gd name="T2" fmla="*/ 320 w 438"/>
                <a:gd name="T3" fmla="*/ 111 h 429"/>
                <a:gd name="T4" fmla="*/ 320 w 438"/>
                <a:gd name="T5" fmla="*/ 64 h 429"/>
                <a:gd name="T6" fmla="*/ 367 w 438"/>
                <a:gd name="T7" fmla="*/ 64 h 429"/>
                <a:gd name="T8" fmla="*/ 367 w 438"/>
                <a:gd name="T9" fmla="*/ 111 h 429"/>
                <a:gd name="T10" fmla="*/ 296 w 438"/>
                <a:gd name="T11" fmla="*/ 229 h 429"/>
                <a:gd name="T12" fmla="*/ 202 w 438"/>
                <a:gd name="T13" fmla="*/ 229 h 429"/>
                <a:gd name="T14" fmla="*/ 202 w 438"/>
                <a:gd name="T15" fmla="*/ 135 h 429"/>
                <a:gd name="T16" fmla="*/ 296 w 438"/>
                <a:gd name="T17" fmla="*/ 135 h 429"/>
                <a:gd name="T18" fmla="*/ 296 w 438"/>
                <a:gd name="T19" fmla="*/ 229 h 429"/>
                <a:gd name="T20" fmla="*/ 383 w 438"/>
                <a:gd name="T21" fmla="*/ 0 h 429"/>
                <a:gd name="T22" fmla="*/ 93 w 438"/>
                <a:gd name="T23" fmla="*/ 124 h 429"/>
                <a:gd name="T24" fmla="*/ 0 w 438"/>
                <a:gd name="T25" fmla="*/ 354 h 429"/>
                <a:gd name="T26" fmla="*/ 69 w 438"/>
                <a:gd name="T27" fmla="*/ 265 h 429"/>
                <a:gd name="T28" fmla="*/ 142 w 438"/>
                <a:gd name="T29" fmla="*/ 243 h 429"/>
                <a:gd name="T30" fmla="*/ 175 w 438"/>
                <a:gd name="T31" fmla="*/ 254 h 429"/>
                <a:gd name="T32" fmla="*/ 163 w 438"/>
                <a:gd name="T33" fmla="*/ 360 h 429"/>
                <a:gd name="T34" fmla="*/ 162 w 438"/>
                <a:gd name="T35" fmla="*/ 361 h 429"/>
                <a:gd name="T36" fmla="*/ 74 w 438"/>
                <a:gd name="T37" fmla="*/ 429 h 429"/>
                <a:gd name="T38" fmla="*/ 304 w 438"/>
                <a:gd name="T39" fmla="*/ 336 h 429"/>
                <a:gd name="T40" fmla="*/ 422 w 438"/>
                <a:gd name="T41" fmla="*/ 6 h 429"/>
                <a:gd name="T42" fmla="*/ 383 w 438"/>
                <a:gd name="T43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8" h="429">
                  <a:moveTo>
                    <a:pt x="367" y="111"/>
                  </a:moveTo>
                  <a:cubicBezTo>
                    <a:pt x="354" y="124"/>
                    <a:pt x="333" y="124"/>
                    <a:pt x="320" y="111"/>
                  </a:cubicBezTo>
                  <a:cubicBezTo>
                    <a:pt x="307" y="98"/>
                    <a:pt x="307" y="77"/>
                    <a:pt x="320" y="64"/>
                  </a:cubicBezTo>
                  <a:cubicBezTo>
                    <a:pt x="333" y="51"/>
                    <a:pt x="354" y="51"/>
                    <a:pt x="367" y="64"/>
                  </a:cubicBezTo>
                  <a:cubicBezTo>
                    <a:pt x="380" y="77"/>
                    <a:pt x="380" y="98"/>
                    <a:pt x="367" y="111"/>
                  </a:cubicBezTo>
                  <a:close/>
                  <a:moveTo>
                    <a:pt x="296" y="229"/>
                  </a:moveTo>
                  <a:cubicBezTo>
                    <a:pt x="270" y="255"/>
                    <a:pt x="228" y="255"/>
                    <a:pt x="202" y="229"/>
                  </a:cubicBezTo>
                  <a:cubicBezTo>
                    <a:pt x="176" y="203"/>
                    <a:pt x="176" y="161"/>
                    <a:pt x="202" y="135"/>
                  </a:cubicBezTo>
                  <a:cubicBezTo>
                    <a:pt x="228" y="109"/>
                    <a:pt x="270" y="109"/>
                    <a:pt x="296" y="135"/>
                  </a:cubicBezTo>
                  <a:cubicBezTo>
                    <a:pt x="322" y="161"/>
                    <a:pt x="322" y="203"/>
                    <a:pt x="296" y="229"/>
                  </a:cubicBezTo>
                  <a:close/>
                  <a:moveTo>
                    <a:pt x="383" y="0"/>
                  </a:moveTo>
                  <a:cubicBezTo>
                    <a:pt x="303" y="0"/>
                    <a:pt x="178" y="39"/>
                    <a:pt x="93" y="124"/>
                  </a:cubicBezTo>
                  <a:cubicBezTo>
                    <a:pt x="22" y="195"/>
                    <a:pt x="3" y="288"/>
                    <a:pt x="0" y="354"/>
                  </a:cubicBezTo>
                  <a:lnTo>
                    <a:pt x="69" y="265"/>
                  </a:lnTo>
                  <a:cubicBezTo>
                    <a:pt x="82" y="252"/>
                    <a:pt x="117" y="243"/>
                    <a:pt x="142" y="243"/>
                  </a:cubicBezTo>
                  <a:cubicBezTo>
                    <a:pt x="157" y="243"/>
                    <a:pt x="168" y="247"/>
                    <a:pt x="175" y="254"/>
                  </a:cubicBezTo>
                  <a:cubicBezTo>
                    <a:pt x="197" y="276"/>
                    <a:pt x="180" y="343"/>
                    <a:pt x="163" y="360"/>
                  </a:cubicBezTo>
                  <a:lnTo>
                    <a:pt x="162" y="361"/>
                  </a:lnTo>
                  <a:lnTo>
                    <a:pt x="74" y="429"/>
                  </a:lnTo>
                  <a:cubicBezTo>
                    <a:pt x="145" y="426"/>
                    <a:pt x="235" y="405"/>
                    <a:pt x="304" y="336"/>
                  </a:cubicBezTo>
                  <a:cubicBezTo>
                    <a:pt x="431" y="210"/>
                    <a:pt x="438" y="26"/>
                    <a:pt x="422" y="6"/>
                  </a:cubicBezTo>
                  <a:cubicBezTo>
                    <a:pt x="421" y="5"/>
                    <a:pt x="410" y="0"/>
                    <a:pt x="38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84" name="Oval 183">
            <a:extLst>
              <a:ext uri="{FF2B5EF4-FFF2-40B4-BE49-F238E27FC236}">
                <a16:creationId xmlns:a16="http://schemas.microsoft.com/office/drawing/2014/main" id="{995F21B0-6598-47ED-BB85-7B0F09885576}"/>
              </a:ext>
            </a:extLst>
          </p:cNvPr>
          <p:cNvSpPr>
            <a:spLocks noChangeAspect="1"/>
          </p:cNvSpPr>
          <p:nvPr>
            <p:custDataLst>
              <p:tags r:id="rId42"/>
            </p:custDataLst>
          </p:nvPr>
        </p:nvSpPr>
        <p:spPr>
          <a:xfrm>
            <a:off x="3143236" y="2558402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45077393-33D6-4965-B566-088B7BE6FE8F}"/>
              </a:ext>
            </a:extLst>
          </p:cNvPr>
          <p:cNvSpPr>
            <a:spLocks noChangeAspect="1"/>
          </p:cNvSpPr>
          <p:nvPr>
            <p:custDataLst>
              <p:tags r:id="rId43"/>
            </p:custDataLst>
          </p:nvPr>
        </p:nvSpPr>
        <p:spPr>
          <a:xfrm>
            <a:off x="5227276" y="1273945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349F4BD8-9B8F-4110-98AF-406BB846A6C2}"/>
              </a:ext>
            </a:extLst>
          </p:cNvPr>
          <p:cNvSpPr>
            <a:spLocks noChangeAspect="1"/>
          </p:cNvSpPr>
          <p:nvPr>
            <p:custDataLst>
              <p:tags r:id="rId44"/>
            </p:custDataLst>
          </p:nvPr>
        </p:nvSpPr>
        <p:spPr>
          <a:xfrm>
            <a:off x="4095149" y="3858254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C0EE84CE-4001-4EBD-B135-7B9DC503D6A5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>
          <a:xfrm>
            <a:off x="1475578" y="4111782"/>
            <a:ext cx="1750273" cy="223136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rgbClr val="31ABD6"/>
                </a:solidFill>
              </a:rPr>
              <a:t>IMPACT PREDICTION</a:t>
            </a: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093EEEA7-09DA-488E-BC53-8AF6015BDBF8}"/>
              </a:ext>
            </a:extLst>
          </p:cNvPr>
          <p:cNvSpPr>
            <a:spLocks noChangeAspect="1"/>
          </p:cNvSpPr>
          <p:nvPr>
            <p:custDataLst>
              <p:tags r:id="rId46"/>
            </p:custDataLst>
          </p:nvPr>
        </p:nvSpPr>
        <p:spPr>
          <a:xfrm>
            <a:off x="2231278" y="3858254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2D6ED005-FD49-4883-839B-64ABA662A837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>
          <a:xfrm>
            <a:off x="1683405" y="4307396"/>
            <a:ext cx="1345973" cy="25391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ANALYZE IMPACT OF CHANGES using simulation - </a:t>
            </a:r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OPTIONAL</a:t>
            </a:r>
          </a:p>
        </p:txBody>
      </p:sp>
      <p:sp>
        <p:nvSpPr>
          <p:cNvPr id="73" name="Diagonal liegende Ecken des Rechtecks abrunden 6">
            <a:extLst>
              <a:ext uri="{FF2B5EF4-FFF2-40B4-BE49-F238E27FC236}">
                <a16:creationId xmlns:a16="http://schemas.microsoft.com/office/drawing/2014/main" id="{888E11B4-C309-410C-B442-AF0AAD02F3A7}"/>
              </a:ext>
            </a:extLst>
          </p:cNvPr>
          <p:cNvSpPr/>
          <p:nvPr>
            <p:custDataLst>
              <p:tags r:id="rId48"/>
            </p:custDataLst>
          </p:nvPr>
        </p:nvSpPr>
        <p:spPr>
          <a:xfrm>
            <a:off x="6949440" y="-977"/>
            <a:ext cx="1793674" cy="262393"/>
          </a:xfrm>
          <a:prstGeom prst="round2SameRect">
            <a:avLst>
              <a:gd name="adj1" fmla="val 0"/>
              <a:gd name="adj2" fmla="val 26623"/>
            </a:avLst>
          </a:prstGeom>
          <a:solidFill>
            <a:srgbClr val="98989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all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aft – V1 / Page 1/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81662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>
                <a:solidFill>
                  <a:prstClr val="white">
                    <a:lumMod val="65000"/>
                  </a:prstClr>
                </a:solidFill>
              </a:rPr>
              <a:t>© 2020 Software AG. All rights reserved.</a:t>
            </a:r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45720" rIns="91440" bIns="45720" rtlCol="0" anchor="ctr">
            <a:normAutofit/>
          </a:bodyPr>
          <a:lstStyle/>
          <a:p>
            <a:r>
              <a:rPr lang="en-US" dirty="0" err="1"/>
              <a:t>Miwg</a:t>
            </a:r>
            <a:r>
              <a:rPr lang="en-US" dirty="0"/>
              <a:t> demo 2020</a:t>
            </a:r>
            <a:endParaRPr lang="en-US" cap="al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/>
        <p:txBody>
          <a:bodyPr vert="horz" lIns="0" tIns="0" rIns="0" bIns="0" rtlCol="0">
            <a:noAutofit/>
          </a:bodyPr>
          <a:lstStyle/>
          <a:p>
            <a:r>
              <a:rPr lang="en-US" sz="2000" dirty="0"/>
              <a:t>Optional extensions</a:t>
            </a:r>
          </a:p>
        </p:txBody>
      </p:sp>
      <p:sp>
        <p:nvSpPr>
          <p:cNvPr id="65" name="Arc 64"/>
          <p:cNvSpPr>
            <a:spLocks noChangeAspect="1"/>
          </p:cNvSpPr>
          <p:nvPr/>
        </p:nvSpPr>
        <p:spPr>
          <a:xfrm>
            <a:off x="6838758" y="2424822"/>
            <a:ext cx="714243" cy="714244"/>
          </a:xfrm>
          <a:prstGeom prst="arc">
            <a:avLst>
              <a:gd name="adj1" fmla="val 16200000"/>
              <a:gd name="adj2" fmla="val 66898"/>
            </a:avLst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cxnSp>
        <p:nvCxnSpPr>
          <p:cNvPr id="6" name="Straight Connector 5"/>
          <p:cNvCxnSpPr>
            <a:cxnSpLocks/>
            <a:endCxn id="16" idx="2"/>
          </p:cNvCxnSpPr>
          <p:nvPr>
            <p:custDataLst>
              <p:tags r:id="rId5"/>
            </p:custDataLst>
          </p:nvPr>
        </p:nvCxnSpPr>
        <p:spPr>
          <a:xfrm>
            <a:off x="1872784" y="2422741"/>
            <a:ext cx="1175569" cy="925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/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048353" y="2328553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Oval 16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7249121" y="2792000"/>
            <a:ext cx="558934" cy="558934"/>
          </a:xfrm>
          <a:prstGeom prst="ellipse">
            <a:avLst/>
          </a:prstGeom>
          <a:solidFill>
            <a:schemeClr val="accent5"/>
          </a:solidFill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79" tIns="34289" rIns="68579" bIns="34289"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2" name="TextBox 91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691470" y="2572923"/>
            <a:ext cx="968176" cy="37702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chemeClr val="tx2"/>
                </a:solidFill>
              </a:rPr>
              <a:t>Process mining</a:t>
            </a:r>
          </a:p>
        </p:txBody>
      </p:sp>
      <p:sp>
        <p:nvSpPr>
          <p:cNvPr id="93" name="TextBox 92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143261" y="2571750"/>
            <a:ext cx="1262203" cy="37702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1100" b="1" kern="0" cap="all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z="1000" dirty="0">
                <a:solidFill>
                  <a:schemeClr val="tx2"/>
                </a:solidFill>
              </a:rPr>
              <a:t>Conformance checking</a:t>
            </a:r>
          </a:p>
        </p:txBody>
      </p:sp>
      <p:sp>
        <p:nvSpPr>
          <p:cNvPr id="127" name="POWER_USER_ID_ICONS_Board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7382072" y="2875737"/>
            <a:ext cx="293032" cy="372311"/>
          </a:xfrm>
          <a:custGeom>
            <a:avLst/>
            <a:gdLst>
              <a:gd name="T0" fmla="*/ 516 w 567"/>
              <a:gd name="T1" fmla="*/ 239 h 719"/>
              <a:gd name="T2" fmla="*/ 497 w 567"/>
              <a:gd name="T3" fmla="*/ 268 h 719"/>
              <a:gd name="T4" fmla="*/ 327 w 567"/>
              <a:gd name="T5" fmla="*/ 393 h 719"/>
              <a:gd name="T6" fmla="*/ 309 w 567"/>
              <a:gd name="T7" fmla="*/ 411 h 719"/>
              <a:gd name="T8" fmla="*/ 261 w 567"/>
              <a:gd name="T9" fmla="*/ 428 h 719"/>
              <a:gd name="T10" fmla="*/ 233 w 567"/>
              <a:gd name="T11" fmla="*/ 260 h 719"/>
              <a:gd name="T12" fmla="*/ 233 w 567"/>
              <a:gd name="T13" fmla="*/ 257 h 719"/>
              <a:gd name="T14" fmla="*/ 96 w 567"/>
              <a:gd name="T15" fmla="*/ 440 h 719"/>
              <a:gd name="T16" fmla="*/ 75 w 567"/>
              <a:gd name="T17" fmla="*/ 452 h 719"/>
              <a:gd name="T18" fmla="*/ 62 w 567"/>
              <a:gd name="T19" fmla="*/ 448 h 719"/>
              <a:gd name="T20" fmla="*/ 54 w 567"/>
              <a:gd name="T21" fmla="*/ 414 h 719"/>
              <a:gd name="T22" fmla="*/ 253 w 567"/>
              <a:gd name="T23" fmla="*/ 203 h 719"/>
              <a:gd name="T24" fmla="*/ 283 w 567"/>
              <a:gd name="T25" fmla="*/ 260 h 719"/>
              <a:gd name="T26" fmla="*/ 285 w 567"/>
              <a:gd name="T27" fmla="*/ 365 h 719"/>
              <a:gd name="T28" fmla="*/ 291 w 567"/>
              <a:gd name="T29" fmla="*/ 359 h 719"/>
              <a:gd name="T30" fmla="*/ 487 w 567"/>
              <a:gd name="T31" fmla="*/ 219 h 719"/>
              <a:gd name="T32" fmla="*/ 516 w 567"/>
              <a:gd name="T33" fmla="*/ 239 h 719"/>
              <a:gd name="T34" fmla="*/ 222 w 567"/>
              <a:gd name="T35" fmla="*/ 3 h 719"/>
              <a:gd name="T36" fmla="*/ 192 w 567"/>
              <a:gd name="T37" fmla="*/ 22 h 719"/>
              <a:gd name="T38" fmla="*/ 172 w 567"/>
              <a:gd name="T39" fmla="*/ 110 h 719"/>
              <a:gd name="T40" fmla="*/ 133 w 567"/>
              <a:gd name="T41" fmla="*/ 110 h 719"/>
              <a:gd name="T42" fmla="*/ 110 w 567"/>
              <a:gd name="T43" fmla="*/ 127 h 719"/>
              <a:gd name="T44" fmla="*/ 35 w 567"/>
              <a:gd name="T45" fmla="*/ 127 h 719"/>
              <a:gd name="T46" fmla="*/ 0 w 567"/>
              <a:gd name="T47" fmla="*/ 156 h 719"/>
              <a:gd name="T48" fmla="*/ 0 w 567"/>
              <a:gd name="T49" fmla="*/ 464 h 719"/>
              <a:gd name="T50" fmla="*/ 35 w 567"/>
              <a:gd name="T51" fmla="*/ 494 h 719"/>
              <a:gd name="T52" fmla="*/ 86 w 567"/>
              <a:gd name="T53" fmla="*/ 494 h 719"/>
              <a:gd name="T54" fmla="*/ 42 w 567"/>
              <a:gd name="T55" fmla="*/ 688 h 719"/>
              <a:gd name="T56" fmla="*/ 61 w 567"/>
              <a:gd name="T57" fmla="*/ 718 h 719"/>
              <a:gd name="T58" fmla="*/ 67 w 567"/>
              <a:gd name="T59" fmla="*/ 719 h 719"/>
              <a:gd name="T60" fmla="*/ 91 w 567"/>
              <a:gd name="T61" fmla="*/ 699 h 719"/>
              <a:gd name="T62" fmla="*/ 130 w 567"/>
              <a:gd name="T63" fmla="*/ 527 h 719"/>
              <a:gd name="T64" fmla="*/ 133 w 567"/>
              <a:gd name="T65" fmla="*/ 527 h 719"/>
              <a:gd name="T66" fmla="*/ 258 w 567"/>
              <a:gd name="T67" fmla="*/ 527 h 719"/>
              <a:gd name="T68" fmla="*/ 258 w 567"/>
              <a:gd name="T69" fmla="*/ 694 h 719"/>
              <a:gd name="T70" fmla="*/ 283 w 567"/>
              <a:gd name="T71" fmla="*/ 719 h 719"/>
              <a:gd name="T72" fmla="*/ 308 w 567"/>
              <a:gd name="T73" fmla="*/ 694 h 719"/>
              <a:gd name="T74" fmla="*/ 308 w 567"/>
              <a:gd name="T75" fmla="*/ 527 h 719"/>
              <a:gd name="T76" fmla="*/ 433 w 567"/>
              <a:gd name="T77" fmla="*/ 527 h 719"/>
              <a:gd name="T78" fmla="*/ 441 w 567"/>
              <a:gd name="T79" fmla="*/ 526 h 719"/>
              <a:gd name="T80" fmla="*/ 475 w 567"/>
              <a:gd name="T81" fmla="*/ 699 h 719"/>
              <a:gd name="T82" fmla="*/ 500 w 567"/>
              <a:gd name="T83" fmla="*/ 719 h 719"/>
              <a:gd name="T84" fmla="*/ 505 w 567"/>
              <a:gd name="T85" fmla="*/ 718 h 719"/>
              <a:gd name="T86" fmla="*/ 525 w 567"/>
              <a:gd name="T87" fmla="*/ 689 h 719"/>
              <a:gd name="T88" fmla="*/ 485 w 567"/>
              <a:gd name="T89" fmla="*/ 494 h 719"/>
              <a:gd name="T90" fmla="*/ 531 w 567"/>
              <a:gd name="T91" fmla="*/ 494 h 719"/>
              <a:gd name="T92" fmla="*/ 567 w 567"/>
              <a:gd name="T93" fmla="*/ 464 h 719"/>
              <a:gd name="T94" fmla="*/ 567 w 567"/>
              <a:gd name="T95" fmla="*/ 156 h 719"/>
              <a:gd name="T96" fmla="*/ 531 w 567"/>
              <a:gd name="T97" fmla="*/ 127 h 719"/>
              <a:gd name="T98" fmla="*/ 457 w 567"/>
              <a:gd name="T99" fmla="*/ 127 h 719"/>
              <a:gd name="T100" fmla="*/ 433 w 567"/>
              <a:gd name="T101" fmla="*/ 110 h 719"/>
              <a:gd name="T102" fmla="*/ 409 w 567"/>
              <a:gd name="T103" fmla="*/ 110 h 719"/>
              <a:gd name="T104" fmla="*/ 391 w 567"/>
              <a:gd name="T105" fmla="*/ 22 h 719"/>
              <a:gd name="T106" fmla="*/ 362 w 567"/>
              <a:gd name="T107" fmla="*/ 2 h 719"/>
              <a:gd name="T108" fmla="*/ 342 w 567"/>
              <a:gd name="T109" fmla="*/ 32 h 719"/>
              <a:gd name="T110" fmla="*/ 358 w 567"/>
              <a:gd name="T111" fmla="*/ 110 h 719"/>
              <a:gd name="T112" fmla="*/ 224 w 567"/>
              <a:gd name="T113" fmla="*/ 110 h 719"/>
              <a:gd name="T114" fmla="*/ 241 w 567"/>
              <a:gd name="T115" fmla="*/ 32 h 719"/>
              <a:gd name="T116" fmla="*/ 222 w 567"/>
              <a:gd name="T117" fmla="*/ 3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67" h="719">
                <a:moveTo>
                  <a:pt x="516" y="239"/>
                </a:moveTo>
                <a:cubicBezTo>
                  <a:pt x="519" y="252"/>
                  <a:pt x="510" y="265"/>
                  <a:pt x="497" y="268"/>
                </a:cubicBezTo>
                <a:cubicBezTo>
                  <a:pt x="433" y="281"/>
                  <a:pt x="364" y="354"/>
                  <a:pt x="327" y="393"/>
                </a:cubicBezTo>
                <a:cubicBezTo>
                  <a:pt x="320" y="400"/>
                  <a:pt x="314" y="406"/>
                  <a:pt x="309" y="411"/>
                </a:cubicBezTo>
                <a:cubicBezTo>
                  <a:pt x="302" y="418"/>
                  <a:pt x="283" y="437"/>
                  <a:pt x="261" y="428"/>
                </a:cubicBezTo>
                <a:cubicBezTo>
                  <a:pt x="233" y="417"/>
                  <a:pt x="233" y="387"/>
                  <a:pt x="233" y="260"/>
                </a:cubicBezTo>
                <a:cubicBezTo>
                  <a:pt x="233" y="259"/>
                  <a:pt x="233" y="258"/>
                  <a:pt x="233" y="257"/>
                </a:cubicBezTo>
                <a:cubicBezTo>
                  <a:pt x="205" y="280"/>
                  <a:pt x="148" y="356"/>
                  <a:pt x="96" y="440"/>
                </a:cubicBezTo>
                <a:cubicBezTo>
                  <a:pt x="92" y="448"/>
                  <a:pt x="83" y="452"/>
                  <a:pt x="75" y="452"/>
                </a:cubicBezTo>
                <a:cubicBezTo>
                  <a:pt x="71" y="452"/>
                  <a:pt x="66" y="451"/>
                  <a:pt x="62" y="448"/>
                </a:cubicBezTo>
                <a:cubicBezTo>
                  <a:pt x="50" y="441"/>
                  <a:pt x="46" y="426"/>
                  <a:pt x="54" y="414"/>
                </a:cubicBezTo>
                <a:cubicBezTo>
                  <a:pt x="193" y="186"/>
                  <a:pt x="238" y="198"/>
                  <a:pt x="253" y="203"/>
                </a:cubicBezTo>
                <a:cubicBezTo>
                  <a:pt x="273" y="208"/>
                  <a:pt x="283" y="228"/>
                  <a:pt x="283" y="260"/>
                </a:cubicBezTo>
                <a:cubicBezTo>
                  <a:pt x="283" y="302"/>
                  <a:pt x="283" y="341"/>
                  <a:pt x="285" y="365"/>
                </a:cubicBezTo>
                <a:cubicBezTo>
                  <a:pt x="287" y="363"/>
                  <a:pt x="289" y="361"/>
                  <a:pt x="291" y="359"/>
                </a:cubicBezTo>
                <a:cubicBezTo>
                  <a:pt x="331" y="316"/>
                  <a:pt x="407" y="235"/>
                  <a:pt x="487" y="219"/>
                </a:cubicBezTo>
                <a:cubicBezTo>
                  <a:pt x="500" y="216"/>
                  <a:pt x="513" y="225"/>
                  <a:pt x="516" y="239"/>
                </a:cubicBezTo>
                <a:close/>
                <a:moveTo>
                  <a:pt x="222" y="3"/>
                </a:moveTo>
                <a:cubicBezTo>
                  <a:pt x="209" y="0"/>
                  <a:pt x="195" y="8"/>
                  <a:pt x="192" y="22"/>
                </a:cubicBezTo>
                <a:lnTo>
                  <a:pt x="172" y="110"/>
                </a:lnTo>
                <a:lnTo>
                  <a:pt x="133" y="110"/>
                </a:lnTo>
                <a:cubicBezTo>
                  <a:pt x="122" y="110"/>
                  <a:pt x="113" y="117"/>
                  <a:pt x="110" y="127"/>
                </a:cubicBezTo>
                <a:lnTo>
                  <a:pt x="35" y="127"/>
                </a:lnTo>
                <a:cubicBezTo>
                  <a:pt x="16" y="127"/>
                  <a:pt x="0" y="140"/>
                  <a:pt x="0" y="156"/>
                </a:cubicBezTo>
                <a:lnTo>
                  <a:pt x="0" y="464"/>
                </a:lnTo>
                <a:cubicBezTo>
                  <a:pt x="0" y="481"/>
                  <a:pt x="16" y="494"/>
                  <a:pt x="35" y="494"/>
                </a:cubicBezTo>
                <a:lnTo>
                  <a:pt x="86" y="494"/>
                </a:lnTo>
                <a:lnTo>
                  <a:pt x="42" y="688"/>
                </a:lnTo>
                <a:cubicBezTo>
                  <a:pt x="39" y="702"/>
                  <a:pt x="48" y="715"/>
                  <a:pt x="61" y="718"/>
                </a:cubicBezTo>
                <a:cubicBezTo>
                  <a:pt x="63" y="718"/>
                  <a:pt x="65" y="719"/>
                  <a:pt x="67" y="719"/>
                </a:cubicBezTo>
                <a:cubicBezTo>
                  <a:pt x="78" y="719"/>
                  <a:pt x="88" y="711"/>
                  <a:pt x="91" y="699"/>
                </a:cubicBezTo>
                <a:lnTo>
                  <a:pt x="130" y="527"/>
                </a:lnTo>
                <a:cubicBezTo>
                  <a:pt x="131" y="527"/>
                  <a:pt x="132" y="527"/>
                  <a:pt x="133" y="527"/>
                </a:cubicBezTo>
                <a:lnTo>
                  <a:pt x="258" y="527"/>
                </a:lnTo>
                <a:lnTo>
                  <a:pt x="258" y="694"/>
                </a:lnTo>
                <a:cubicBezTo>
                  <a:pt x="258" y="707"/>
                  <a:pt x="270" y="719"/>
                  <a:pt x="283" y="719"/>
                </a:cubicBezTo>
                <a:cubicBezTo>
                  <a:pt x="297" y="719"/>
                  <a:pt x="308" y="707"/>
                  <a:pt x="308" y="694"/>
                </a:cubicBezTo>
                <a:lnTo>
                  <a:pt x="308" y="527"/>
                </a:lnTo>
                <a:lnTo>
                  <a:pt x="433" y="527"/>
                </a:lnTo>
                <a:cubicBezTo>
                  <a:pt x="436" y="527"/>
                  <a:pt x="439" y="526"/>
                  <a:pt x="441" y="526"/>
                </a:cubicBezTo>
                <a:lnTo>
                  <a:pt x="475" y="699"/>
                </a:lnTo>
                <a:cubicBezTo>
                  <a:pt x="478" y="710"/>
                  <a:pt x="488" y="719"/>
                  <a:pt x="500" y="719"/>
                </a:cubicBezTo>
                <a:cubicBezTo>
                  <a:pt x="502" y="719"/>
                  <a:pt x="503" y="719"/>
                  <a:pt x="505" y="718"/>
                </a:cubicBezTo>
                <a:cubicBezTo>
                  <a:pt x="518" y="715"/>
                  <a:pt x="527" y="702"/>
                  <a:pt x="525" y="689"/>
                </a:cubicBezTo>
                <a:lnTo>
                  <a:pt x="485" y="494"/>
                </a:lnTo>
                <a:lnTo>
                  <a:pt x="531" y="494"/>
                </a:lnTo>
                <a:cubicBezTo>
                  <a:pt x="551" y="494"/>
                  <a:pt x="567" y="481"/>
                  <a:pt x="567" y="464"/>
                </a:cubicBezTo>
                <a:lnTo>
                  <a:pt x="567" y="156"/>
                </a:lnTo>
                <a:cubicBezTo>
                  <a:pt x="567" y="140"/>
                  <a:pt x="551" y="127"/>
                  <a:pt x="531" y="127"/>
                </a:cubicBezTo>
                <a:lnTo>
                  <a:pt x="457" y="127"/>
                </a:lnTo>
                <a:cubicBezTo>
                  <a:pt x="453" y="117"/>
                  <a:pt x="444" y="110"/>
                  <a:pt x="433" y="110"/>
                </a:cubicBezTo>
                <a:lnTo>
                  <a:pt x="409" y="110"/>
                </a:lnTo>
                <a:lnTo>
                  <a:pt x="391" y="22"/>
                </a:lnTo>
                <a:cubicBezTo>
                  <a:pt x="388" y="9"/>
                  <a:pt x="375" y="0"/>
                  <a:pt x="362" y="2"/>
                </a:cubicBezTo>
                <a:cubicBezTo>
                  <a:pt x="348" y="5"/>
                  <a:pt x="339" y="18"/>
                  <a:pt x="342" y="32"/>
                </a:cubicBezTo>
                <a:lnTo>
                  <a:pt x="358" y="110"/>
                </a:lnTo>
                <a:lnTo>
                  <a:pt x="224" y="110"/>
                </a:lnTo>
                <a:lnTo>
                  <a:pt x="241" y="32"/>
                </a:lnTo>
                <a:cubicBezTo>
                  <a:pt x="244" y="19"/>
                  <a:pt x="236" y="6"/>
                  <a:pt x="222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cxnSp>
        <p:nvCxnSpPr>
          <p:cNvPr id="194" name="Straight Connector 193"/>
          <p:cNvCxnSpPr>
            <a:cxnSpLocks/>
          </p:cNvCxnSpPr>
          <p:nvPr>
            <p:custDataLst>
              <p:tags r:id="rId11"/>
            </p:custDataLst>
          </p:nvPr>
        </p:nvCxnSpPr>
        <p:spPr>
          <a:xfrm flipV="1">
            <a:off x="4982142" y="2425903"/>
            <a:ext cx="2233616" cy="609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>
            <a:cxnSpLocks/>
            <a:stCxn id="16" idx="6"/>
          </p:cNvCxnSpPr>
          <p:nvPr>
            <p:custDataLst>
              <p:tags r:id="rId12"/>
            </p:custDataLst>
          </p:nvPr>
        </p:nvCxnSpPr>
        <p:spPr>
          <a:xfrm>
            <a:off x="3255244" y="2431999"/>
            <a:ext cx="2111319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84EF2FF6-8A0C-4E4D-BDD7-732E70128CE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6934813" y="3404191"/>
            <a:ext cx="1187549" cy="530913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1100" b="1" kern="0" cap="all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z="1000" dirty="0">
                <a:solidFill>
                  <a:schemeClr val="accent5"/>
                </a:solidFill>
              </a:rPr>
              <a:t>CONTINUOUSLY </a:t>
            </a:r>
            <a:r>
              <a:rPr lang="en-US" sz="1000" dirty="0" err="1">
                <a:solidFill>
                  <a:schemeClr val="accent5"/>
                </a:solidFill>
              </a:rPr>
              <a:t>IMPROvED</a:t>
            </a:r>
            <a:r>
              <a:rPr lang="en-US" sz="1000" dirty="0">
                <a:solidFill>
                  <a:schemeClr val="accent5"/>
                </a:solidFill>
              </a:rPr>
              <a:t> PROCESS</a:t>
            </a: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45077393-33D6-4965-B566-088B7BE6FE8F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665523" y="2322457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F7F71EF-432F-4927-A729-B6F26D78CF5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5766512" y="2586805"/>
            <a:ext cx="1039223" cy="37702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1100" b="1" kern="0" cap="all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z="1000" dirty="0">
                <a:solidFill>
                  <a:schemeClr val="tx2"/>
                </a:solidFill>
              </a:rPr>
              <a:t>REQUEST CHANGES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F700BBAF-FC44-471B-8B6F-441946F7BC4D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6161150" y="2322457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3F4957E3-7013-4845-B87F-79F63837D213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487817" y="2405461"/>
            <a:ext cx="1175569" cy="9258"/>
          </a:xfrm>
          <a:prstGeom prst="line">
            <a:avLst/>
          </a:prstGeom>
          <a:ln w="381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Oval 78">
            <a:extLst>
              <a:ext uri="{FF2B5EF4-FFF2-40B4-BE49-F238E27FC236}">
                <a16:creationId xmlns:a16="http://schemas.microsoft.com/office/drawing/2014/main" id="{0660FBC8-038E-497C-8890-D4AC346DD52D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1306503" y="2139600"/>
            <a:ext cx="566281" cy="566281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79" tIns="34289" rIns="68579" bIns="34289"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80" name="POWER_USER_ID_ICONS_Rocket2">
            <a:extLst>
              <a:ext uri="{FF2B5EF4-FFF2-40B4-BE49-F238E27FC236}">
                <a16:creationId xmlns:a16="http://schemas.microsoft.com/office/drawing/2014/main" id="{A96C8F07-E88B-4EA0-BE52-B57861A6DD6F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 bwMode="auto">
          <a:xfrm>
            <a:off x="1435172" y="2270809"/>
            <a:ext cx="310496" cy="307695"/>
            <a:chOff x="2506" y="943"/>
            <a:chExt cx="2548" cy="2525"/>
          </a:xfrm>
          <a:solidFill>
            <a:schemeClr val="bg1"/>
          </a:solidFill>
        </p:grpSpPr>
        <p:sp>
          <p:nvSpPr>
            <p:cNvPr id="81" name="Freeform 619">
              <a:extLst>
                <a:ext uri="{FF2B5EF4-FFF2-40B4-BE49-F238E27FC236}">
                  <a16:creationId xmlns:a16="http://schemas.microsoft.com/office/drawing/2014/main" id="{9B7688DC-6E46-4540-8704-2D054E370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0" y="2410"/>
              <a:ext cx="1044" cy="1046"/>
            </a:xfrm>
            <a:custGeom>
              <a:avLst/>
              <a:gdLst>
                <a:gd name="T0" fmla="*/ 263 w 263"/>
                <a:gd name="T1" fmla="*/ 94 h 263"/>
                <a:gd name="T2" fmla="*/ 253 w 263"/>
                <a:gd name="T3" fmla="*/ 94 h 263"/>
                <a:gd name="T4" fmla="*/ 234 w 263"/>
                <a:gd name="T5" fmla="*/ 94 h 263"/>
                <a:gd name="T6" fmla="*/ 151 w 263"/>
                <a:gd name="T7" fmla="*/ 159 h 263"/>
                <a:gd name="T8" fmla="*/ 118 w 263"/>
                <a:gd name="T9" fmla="*/ 178 h 263"/>
                <a:gd name="T10" fmla="*/ 95 w 263"/>
                <a:gd name="T11" fmla="*/ 167 h 263"/>
                <a:gd name="T12" fmla="*/ 85 w 263"/>
                <a:gd name="T13" fmla="*/ 144 h 263"/>
                <a:gd name="T14" fmla="*/ 104 w 263"/>
                <a:gd name="T15" fmla="*/ 112 h 263"/>
                <a:gd name="T16" fmla="*/ 106 w 263"/>
                <a:gd name="T17" fmla="*/ 109 h 263"/>
                <a:gd name="T18" fmla="*/ 169 w 263"/>
                <a:gd name="T19" fmla="*/ 29 h 263"/>
                <a:gd name="T20" fmla="*/ 168 w 263"/>
                <a:gd name="T21" fmla="*/ 0 h 263"/>
                <a:gd name="T22" fmla="*/ 146 w 263"/>
                <a:gd name="T23" fmla="*/ 20 h 263"/>
                <a:gd name="T24" fmla="*/ 11 w 263"/>
                <a:gd name="T25" fmla="*/ 252 h 263"/>
                <a:gd name="T26" fmla="*/ 243 w 263"/>
                <a:gd name="T27" fmla="*/ 117 h 263"/>
                <a:gd name="T28" fmla="*/ 263 w 263"/>
                <a:gd name="T29" fmla="*/ 94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263">
                  <a:moveTo>
                    <a:pt x="263" y="94"/>
                  </a:moveTo>
                  <a:cubicBezTo>
                    <a:pt x="259" y="94"/>
                    <a:pt x="256" y="94"/>
                    <a:pt x="253" y="94"/>
                  </a:cubicBezTo>
                  <a:cubicBezTo>
                    <a:pt x="246" y="94"/>
                    <a:pt x="240" y="94"/>
                    <a:pt x="234" y="94"/>
                  </a:cubicBezTo>
                  <a:lnTo>
                    <a:pt x="151" y="159"/>
                  </a:lnTo>
                  <a:cubicBezTo>
                    <a:pt x="142" y="168"/>
                    <a:pt x="132" y="178"/>
                    <a:pt x="118" y="178"/>
                  </a:cubicBezTo>
                  <a:cubicBezTo>
                    <a:pt x="110" y="178"/>
                    <a:pt x="102" y="174"/>
                    <a:pt x="95" y="167"/>
                  </a:cubicBezTo>
                  <a:cubicBezTo>
                    <a:pt x="88" y="160"/>
                    <a:pt x="85" y="153"/>
                    <a:pt x="85" y="144"/>
                  </a:cubicBezTo>
                  <a:cubicBezTo>
                    <a:pt x="85" y="130"/>
                    <a:pt x="95" y="121"/>
                    <a:pt x="104" y="112"/>
                  </a:cubicBezTo>
                  <a:lnTo>
                    <a:pt x="106" y="109"/>
                  </a:lnTo>
                  <a:lnTo>
                    <a:pt x="169" y="29"/>
                  </a:lnTo>
                  <a:cubicBezTo>
                    <a:pt x="168" y="20"/>
                    <a:pt x="168" y="11"/>
                    <a:pt x="168" y="0"/>
                  </a:cubicBezTo>
                  <a:cubicBezTo>
                    <a:pt x="161" y="6"/>
                    <a:pt x="154" y="12"/>
                    <a:pt x="146" y="20"/>
                  </a:cubicBezTo>
                  <a:cubicBezTo>
                    <a:pt x="62" y="104"/>
                    <a:pt x="0" y="242"/>
                    <a:pt x="11" y="252"/>
                  </a:cubicBezTo>
                  <a:cubicBezTo>
                    <a:pt x="21" y="263"/>
                    <a:pt x="158" y="201"/>
                    <a:pt x="243" y="117"/>
                  </a:cubicBezTo>
                  <a:cubicBezTo>
                    <a:pt x="251" y="109"/>
                    <a:pt x="257" y="102"/>
                    <a:pt x="263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620">
              <a:extLst>
                <a:ext uri="{FF2B5EF4-FFF2-40B4-BE49-F238E27FC236}">
                  <a16:creationId xmlns:a16="http://schemas.microsoft.com/office/drawing/2014/main" id="{2EECF8FA-480F-40BE-B853-3F58D8A29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40"/>
              <a:ext cx="941" cy="931"/>
            </a:xfrm>
            <a:custGeom>
              <a:avLst/>
              <a:gdLst>
                <a:gd name="T0" fmla="*/ 0 w 237"/>
                <a:gd name="T1" fmla="*/ 234 h 234"/>
                <a:gd name="T2" fmla="*/ 5 w 237"/>
                <a:gd name="T3" fmla="*/ 228 h 234"/>
                <a:gd name="T4" fmla="*/ 10 w 237"/>
                <a:gd name="T5" fmla="*/ 224 h 234"/>
                <a:gd name="T6" fmla="*/ 221 w 237"/>
                <a:gd name="T7" fmla="*/ 60 h 234"/>
                <a:gd name="T8" fmla="*/ 232 w 237"/>
                <a:gd name="T9" fmla="*/ 1 h 234"/>
                <a:gd name="T10" fmla="*/ 223 w 237"/>
                <a:gd name="T11" fmla="*/ 0 h 234"/>
                <a:gd name="T12" fmla="*/ 174 w 237"/>
                <a:gd name="T13" fmla="*/ 13 h 234"/>
                <a:gd name="T14" fmla="*/ 5 w 237"/>
                <a:gd name="T15" fmla="*/ 228 h 234"/>
                <a:gd name="T16" fmla="*/ 0 w 237"/>
                <a:gd name="T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234">
                  <a:moveTo>
                    <a:pt x="0" y="234"/>
                  </a:moveTo>
                  <a:cubicBezTo>
                    <a:pt x="2" y="232"/>
                    <a:pt x="4" y="230"/>
                    <a:pt x="5" y="228"/>
                  </a:cubicBezTo>
                  <a:lnTo>
                    <a:pt x="10" y="224"/>
                  </a:lnTo>
                  <a:lnTo>
                    <a:pt x="221" y="60"/>
                  </a:lnTo>
                  <a:cubicBezTo>
                    <a:pt x="228" y="51"/>
                    <a:pt x="237" y="13"/>
                    <a:pt x="232" y="1"/>
                  </a:cubicBezTo>
                  <a:cubicBezTo>
                    <a:pt x="231" y="1"/>
                    <a:pt x="228" y="0"/>
                    <a:pt x="223" y="0"/>
                  </a:cubicBezTo>
                  <a:cubicBezTo>
                    <a:pt x="203" y="0"/>
                    <a:pt x="180" y="8"/>
                    <a:pt x="174" y="13"/>
                  </a:cubicBezTo>
                  <a:lnTo>
                    <a:pt x="5" y="228"/>
                  </a:lnTo>
                  <a:cubicBezTo>
                    <a:pt x="4" y="230"/>
                    <a:pt x="2" y="232"/>
                    <a:pt x="0" y="2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Freeform 621">
              <a:extLst>
                <a:ext uri="{FF2B5EF4-FFF2-40B4-BE49-F238E27FC236}">
                  <a16:creationId xmlns:a16="http://schemas.microsoft.com/office/drawing/2014/main" id="{481C68D1-79AB-43CA-B8C9-9EED96ED8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9" y="2514"/>
              <a:ext cx="1100" cy="954"/>
            </a:xfrm>
            <a:custGeom>
              <a:avLst/>
              <a:gdLst>
                <a:gd name="T0" fmla="*/ 73 w 277"/>
                <a:gd name="T1" fmla="*/ 67 h 240"/>
                <a:gd name="T2" fmla="*/ 11 w 277"/>
                <a:gd name="T3" fmla="*/ 205 h 240"/>
                <a:gd name="T4" fmla="*/ 55 w 277"/>
                <a:gd name="T5" fmla="*/ 221 h 240"/>
                <a:gd name="T6" fmla="*/ 190 w 277"/>
                <a:gd name="T7" fmla="*/ 147 h 240"/>
                <a:gd name="T8" fmla="*/ 276 w 277"/>
                <a:gd name="T9" fmla="*/ 13 h 240"/>
                <a:gd name="T10" fmla="*/ 275 w 277"/>
                <a:gd name="T11" fmla="*/ 0 h 240"/>
                <a:gd name="T12" fmla="*/ 73 w 277"/>
                <a:gd name="T13" fmla="*/ 67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40">
                  <a:moveTo>
                    <a:pt x="73" y="67"/>
                  </a:moveTo>
                  <a:cubicBezTo>
                    <a:pt x="43" y="128"/>
                    <a:pt x="11" y="205"/>
                    <a:pt x="11" y="205"/>
                  </a:cubicBezTo>
                  <a:cubicBezTo>
                    <a:pt x="0" y="225"/>
                    <a:pt x="17" y="240"/>
                    <a:pt x="55" y="221"/>
                  </a:cubicBezTo>
                  <a:lnTo>
                    <a:pt x="190" y="147"/>
                  </a:lnTo>
                  <a:cubicBezTo>
                    <a:pt x="263" y="106"/>
                    <a:pt x="277" y="96"/>
                    <a:pt x="276" y="13"/>
                  </a:cubicBezTo>
                  <a:lnTo>
                    <a:pt x="275" y="0"/>
                  </a:lnTo>
                  <a:cubicBezTo>
                    <a:pt x="209" y="46"/>
                    <a:pt x="134" y="63"/>
                    <a:pt x="73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 622">
              <a:extLst>
                <a:ext uri="{FF2B5EF4-FFF2-40B4-BE49-F238E27FC236}">
                  <a16:creationId xmlns:a16="http://schemas.microsoft.com/office/drawing/2014/main" id="{E31BA5F1-AFC4-4750-9144-FDD621C76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6" y="1511"/>
              <a:ext cx="937" cy="1102"/>
            </a:xfrm>
            <a:custGeom>
              <a:avLst/>
              <a:gdLst>
                <a:gd name="T0" fmla="*/ 35 w 236"/>
                <a:gd name="T1" fmla="*/ 266 h 277"/>
                <a:gd name="T2" fmla="*/ 170 w 236"/>
                <a:gd name="T3" fmla="*/ 206 h 277"/>
                <a:gd name="T4" fmla="*/ 236 w 236"/>
                <a:gd name="T5" fmla="*/ 2 h 277"/>
                <a:gd name="T6" fmla="*/ 227 w 236"/>
                <a:gd name="T7" fmla="*/ 1 h 277"/>
                <a:gd name="T8" fmla="*/ 94 w 236"/>
                <a:gd name="T9" fmla="*/ 87 h 277"/>
                <a:gd name="T10" fmla="*/ 20 w 236"/>
                <a:gd name="T11" fmla="*/ 223 h 277"/>
                <a:gd name="T12" fmla="*/ 35 w 236"/>
                <a:gd name="T13" fmla="*/ 26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6" h="277">
                  <a:moveTo>
                    <a:pt x="35" y="266"/>
                  </a:moveTo>
                  <a:cubicBezTo>
                    <a:pt x="35" y="266"/>
                    <a:pt x="109" y="235"/>
                    <a:pt x="170" y="206"/>
                  </a:cubicBezTo>
                  <a:cubicBezTo>
                    <a:pt x="174" y="147"/>
                    <a:pt x="189" y="70"/>
                    <a:pt x="236" y="2"/>
                  </a:cubicBezTo>
                  <a:lnTo>
                    <a:pt x="227" y="1"/>
                  </a:lnTo>
                  <a:cubicBezTo>
                    <a:pt x="145" y="0"/>
                    <a:pt x="134" y="14"/>
                    <a:pt x="94" y="87"/>
                  </a:cubicBezTo>
                  <a:lnTo>
                    <a:pt x="20" y="223"/>
                  </a:lnTo>
                  <a:cubicBezTo>
                    <a:pt x="0" y="260"/>
                    <a:pt x="15" y="277"/>
                    <a:pt x="35" y="2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Freeform 623">
              <a:extLst>
                <a:ext uri="{FF2B5EF4-FFF2-40B4-BE49-F238E27FC236}">
                  <a16:creationId xmlns:a16="http://schemas.microsoft.com/office/drawing/2014/main" id="{60C32FDE-4431-426F-8CF9-2C19443004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6" y="943"/>
              <a:ext cx="1738" cy="1706"/>
            </a:xfrm>
            <a:custGeom>
              <a:avLst/>
              <a:gdLst>
                <a:gd name="T0" fmla="*/ 367 w 438"/>
                <a:gd name="T1" fmla="*/ 111 h 429"/>
                <a:gd name="T2" fmla="*/ 320 w 438"/>
                <a:gd name="T3" fmla="*/ 111 h 429"/>
                <a:gd name="T4" fmla="*/ 320 w 438"/>
                <a:gd name="T5" fmla="*/ 64 h 429"/>
                <a:gd name="T6" fmla="*/ 367 w 438"/>
                <a:gd name="T7" fmla="*/ 64 h 429"/>
                <a:gd name="T8" fmla="*/ 367 w 438"/>
                <a:gd name="T9" fmla="*/ 111 h 429"/>
                <a:gd name="T10" fmla="*/ 296 w 438"/>
                <a:gd name="T11" fmla="*/ 229 h 429"/>
                <a:gd name="T12" fmla="*/ 202 w 438"/>
                <a:gd name="T13" fmla="*/ 229 h 429"/>
                <a:gd name="T14" fmla="*/ 202 w 438"/>
                <a:gd name="T15" fmla="*/ 135 h 429"/>
                <a:gd name="T16" fmla="*/ 296 w 438"/>
                <a:gd name="T17" fmla="*/ 135 h 429"/>
                <a:gd name="T18" fmla="*/ 296 w 438"/>
                <a:gd name="T19" fmla="*/ 229 h 429"/>
                <a:gd name="T20" fmla="*/ 383 w 438"/>
                <a:gd name="T21" fmla="*/ 0 h 429"/>
                <a:gd name="T22" fmla="*/ 93 w 438"/>
                <a:gd name="T23" fmla="*/ 124 h 429"/>
                <a:gd name="T24" fmla="*/ 0 w 438"/>
                <a:gd name="T25" fmla="*/ 354 h 429"/>
                <a:gd name="T26" fmla="*/ 69 w 438"/>
                <a:gd name="T27" fmla="*/ 265 h 429"/>
                <a:gd name="T28" fmla="*/ 142 w 438"/>
                <a:gd name="T29" fmla="*/ 243 h 429"/>
                <a:gd name="T30" fmla="*/ 175 w 438"/>
                <a:gd name="T31" fmla="*/ 254 h 429"/>
                <a:gd name="T32" fmla="*/ 163 w 438"/>
                <a:gd name="T33" fmla="*/ 360 h 429"/>
                <a:gd name="T34" fmla="*/ 162 w 438"/>
                <a:gd name="T35" fmla="*/ 361 h 429"/>
                <a:gd name="T36" fmla="*/ 74 w 438"/>
                <a:gd name="T37" fmla="*/ 429 h 429"/>
                <a:gd name="T38" fmla="*/ 304 w 438"/>
                <a:gd name="T39" fmla="*/ 336 h 429"/>
                <a:gd name="T40" fmla="*/ 422 w 438"/>
                <a:gd name="T41" fmla="*/ 6 h 429"/>
                <a:gd name="T42" fmla="*/ 383 w 438"/>
                <a:gd name="T43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8" h="429">
                  <a:moveTo>
                    <a:pt x="367" y="111"/>
                  </a:moveTo>
                  <a:cubicBezTo>
                    <a:pt x="354" y="124"/>
                    <a:pt x="333" y="124"/>
                    <a:pt x="320" y="111"/>
                  </a:cubicBezTo>
                  <a:cubicBezTo>
                    <a:pt x="307" y="98"/>
                    <a:pt x="307" y="77"/>
                    <a:pt x="320" y="64"/>
                  </a:cubicBezTo>
                  <a:cubicBezTo>
                    <a:pt x="333" y="51"/>
                    <a:pt x="354" y="51"/>
                    <a:pt x="367" y="64"/>
                  </a:cubicBezTo>
                  <a:cubicBezTo>
                    <a:pt x="380" y="77"/>
                    <a:pt x="380" y="98"/>
                    <a:pt x="367" y="111"/>
                  </a:cubicBezTo>
                  <a:close/>
                  <a:moveTo>
                    <a:pt x="296" y="229"/>
                  </a:moveTo>
                  <a:cubicBezTo>
                    <a:pt x="270" y="255"/>
                    <a:pt x="228" y="255"/>
                    <a:pt x="202" y="229"/>
                  </a:cubicBezTo>
                  <a:cubicBezTo>
                    <a:pt x="176" y="203"/>
                    <a:pt x="176" y="161"/>
                    <a:pt x="202" y="135"/>
                  </a:cubicBezTo>
                  <a:cubicBezTo>
                    <a:pt x="228" y="109"/>
                    <a:pt x="270" y="109"/>
                    <a:pt x="296" y="135"/>
                  </a:cubicBezTo>
                  <a:cubicBezTo>
                    <a:pt x="322" y="161"/>
                    <a:pt x="322" y="203"/>
                    <a:pt x="296" y="229"/>
                  </a:cubicBezTo>
                  <a:close/>
                  <a:moveTo>
                    <a:pt x="383" y="0"/>
                  </a:moveTo>
                  <a:cubicBezTo>
                    <a:pt x="303" y="0"/>
                    <a:pt x="178" y="39"/>
                    <a:pt x="93" y="124"/>
                  </a:cubicBezTo>
                  <a:cubicBezTo>
                    <a:pt x="22" y="195"/>
                    <a:pt x="3" y="288"/>
                    <a:pt x="0" y="354"/>
                  </a:cubicBezTo>
                  <a:lnTo>
                    <a:pt x="69" y="265"/>
                  </a:lnTo>
                  <a:cubicBezTo>
                    <a:pt x="82" y="252"/>
                    <a:pt x="117" y="243"/>
                    <a:pt x="142" y="243"/>
                  </a:cubicBezTo>
                  <a:cubicBezTo>
                    <a:pt x="157" y="243"/>
                    <a:pt x="168" y="247"/>
                    <a:pt x="175" y="254"/>
                  </a:cubicBezTo>
                  <a:cubicBezTo>
                    <a:pt x="197" y="276"/>
                    <a:pt x="180" y="343"/>
                    <a:pt x="163" y="360"/>
                  </a:cubicBezTo>
                  <a:lnTo>
                    <a:pt x="162" y="361"/>
                  </a:lnTo>
                  <a:lnTo>
                    <a:pt x="74" y="429"/>
                  </a:lnTo>
                  <a:cubicBezTo>
                    <a:pt x="145" y="426"/>
                    <a:pt x="235" y="405"/>
                    <a:pt x="304" y="336"/>
                  </a:cubicBezTo>
                  <a:cubicBezTo>
                    <a:pt x="431" y="210"/>
                    <a:pt x="438" y="26"/>
                    <a:pt x="422" y="6"/>
                  </a:cubicBezTo>
                  <a:cubicBezTo>
                    <a:pt x="421" y="5"/>
                    <a:pt x="410" y="0"/>
                    <a:pt x="38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6" name="Diagonal liegende Ecken des Rechtecks abrunden 6">
            <a:extLst>
              <a:ext uri="{FF2B5EF4-FFF2-40B4-BE49-F238E27FC236}">
                <a16:creationId xmlns:a16="http://schemas.microsoft.com/office/drawing/2014/main" id="{0F9D07B3-CA5D-47B7-88DB-A942CF5DD3C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6949440" y="-977"/>
            <a:ext cx="1793674" cy="262393"/>
          </a:xfrm>
          <a:prstGeom prst="round2SameRect">
            <a:avLst>
              <a:gd name="adj1" fmla="val 0"/>
              <a:gd name="adj2" fmla="val 26623"/>
            </a:avLst>
          </a:prstGeom>
          <a:solidFill>
            <a:srgbClr val="98989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all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aft – V1 / Page 2/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1967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>
                <a:solidFill>
                  <a:prstClr val="white">
                    <a:lumMod val="65000"/>
                  </a:prstClr>
                </a:solidFill>
              </a:rPr>
              <a:t>© 2020 Software AG. All rights reserved.</a:t>
            </a:r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45720" rIns="91440" bIns="45720" rtlCol="0" anchor="ctr">
            <a:normAutofit/>
          </a:bodyPr>
          <a:lstStyle/>
          <a:p>
            <a:r>
              <a:rPr lang="en-US" dirty="0" err="1"/>
              <a:t>Miwg</a:t>
            </a:r>
            <a:r>
              <a:rPr lang="en-US" dirty="0"/>
              <a:t> demo 2020</a:t>
            </a:r>
            <a:endParaRPr lang="en-US" cap="al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/>
        <p:txBody>
          <a:bodyPr vert="horz" lIns="0" tIns="0" rIns="0" bIns="0" rtlCol="0">
            <a:noAutofit/>
          </a:bodyPr>
          <a:lstStyle/>
          <a:p>
            <a:r>
              <a:rPr lang="en-US" sz="2000" dirty="0"/>
              <a:t>An end to end proposal</a:t>
            </a:r>
          </a:p>
        </p:txBody>
      </p:sp>
      <p:sp>
        <p:nvSpPr>
          <p:cNvPr id="77" name="Arc 76"/>
          <p:cNvSpPr>
            <a:spLocks noChangeAspect="1"/>
          </p:cNvSpPr>
          <p:nvPr>
            <p:custDataLst>
              <p:tags r:id="rId5"/>
            </p:custDataLst>
          </p:nvPr>
        </p:nvSpPr>
        <p:spPr>
          <a:xfrm rot="10800000">
            <a:off x="1206389" y="3200342"/>
            <a:ext cx="714242" cy="760818"/>
          </a:xfrm>
          <a:prstGeom prst="arc">
            <a:avLst>
              <a:gd name="adj1" fmla="val 16200000"/>
              <a:gd name="adj2" fmla="val 66898"/>
            </a:avLst>
          </a:prstGeom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7" name="Arc 66"/>
          <p:cNvSpPr>
            <a:spLocks noChangeAspect="1"/>
          </p:cNvSpPr>
          <p:nvPr/>
        </p:nvSpPr>
        <p:spPr>
          <a:xfrm rot="5400000">
            <a:off x="7065227" y="1948793"/>
            <a:ext cx="714252" cy="714243"/>
          </a:xfrm>
          <a:prstGeom prst="arc">
            <a:avLst>
              <a:gd name="adj1" fmla="val 15965619"/>
              <a:gd name="adj2" fmla="val 66898"/>
            </a:avLst>
          </a:prstGeom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65" name="Arc 64"/>
          <p:cNvSpPr>
            <a:spLocks noChangeAspect="1"/>
          </p:cNvSpPr>
          <p:nvPr/>
        </p:nvSpPr>
        <p:spPr>
          <a:xfrm>
            <a:off x="7065231" y="1382406"/>
            <a:ext cx="714243" cy="714244"/>
          </a:xfrm>
          <a:prstGeom prst="arc">
            <a:avLst>
              <a:gd name="adj1" fmla="val 16200000"/>
              <a:gd name="adj2" fmla="val 66898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cxnSp>
        <p:nvCxnSpPr>
          <p:cNvPr id="6" name="Straight Connector 5"/>
          <p:cNvCxnSpPr>
            <a:cxnSpLocks/>
            <a:endCxn id="16" idx="2"/>
          </p:cNvCxnSpPr>
          <p:nvPr>
            <p:custDataLst>
              <p:tags r:id="rId6"/>
            </p:custDataLst>
          </p:nvPr>
        </p:nvCxnSpPr>
        <p:spPr>
          <a:xfrm>
            <a:off x="1285901" y="1389170"/>
            <a:ext cx="1421997" cy="413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2707898" y="1286137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8" name="Straight Connector 7"/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4615193" y="2662973"/>
            <a:ext cx="2800211" cy="8142"/>
          </a:xfrm>
          <a:prstGeom prst="line">
            <a:avLst/>
          </a:prstGeom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  <a:endCxn id="44" idx="2"/>
          </p:cNvCxnSpPr>
          <p:nvPr>
            <p:custDataLst>
              <p:tags r:id="rId9"/>
            </p:custDataLst>
          </p:nvPr>
        </p:nvCxnSpPr>
        <p:spPr>
          <a:xfrm>
            <a:off x="3216952" y="3961700"/>
            <a:ext cx="2361782" cy="0"/>
          </a:xfrm>
          <a:prstGeom prst="line">
            <a:avLst/>
          </a:prstGeom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945416" y="3070510"/>
            <a:ext cx="487839" cy="487839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79" tIns="34289" rIns="68579" bIns="34289"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38" name="Oval 37"/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804542" y="2567669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4" name="Oval 43"/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5578734" y="3858254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6" name="TextBox 45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5026701" y="4105955"/>
            <a:ext cx="1262203" cy="223136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rgbClr val="31ABD6"/>
                </a:solidFill>
              </a:rPr>
              <a:t>Process mining</a:t>
            </a:r>
          </a:p>
        </p:txBody>
      </p:sp>
      <p:sp>
        <p:nvSpPr>
          <p:cNvPr id="17" name="Oval 16"/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7475594" y="1743488"/>
            <a:ext cx="558934" cy="558934"/>
          </a:xfrm>
          <a:prstGeom prst="ellipse">
            <a:avLst/>
          </a:prstGeom>
          <a:solidFill>
            <a:schemeClr val="accent5"/>
          </a:solidFill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79" tIns="34289" rIns="68579" bIns="34289"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2" name="TextBox 91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221071" y="1471648"/>
            <a:ext cx="1164420" cy="223136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chemeClr val="accent5"/>
                </a:solidFill>
              </a:rPr>
              <a:t>CREATE MODEL</a:t>
            </a:r>
          </a:p>
        </p:txBody>
      </p:sp>
      <p:sp>
        <p:nvSpPr>
          <p:cNvPr id="93" name="TextBox 92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4829918" y="1463559"/>
            <a:ext cx="1129154" cy="223136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1100" b="1" kern="0" cap="all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z="1000" dirty="0">
                <a:solidFill>
                  <a:schemeClr val="accent5"/>
                </a:solidFill>
              </a:rPr>
              <a:t>ENRICH MODEL</a:t>
            </a:r>
          </a:p>
        </p:txBody>
      </p:sp>
      <p:sp>
        <p:nvSpPr>
          <p:cNvPr id="96" name="TextBox 95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4552019" y="1637387"/>
            <a:ext cx="1642748" cy="25391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COLLABORATION – refine the process to reach a TO-BE</a:t>
            </a:r>
          </a:p>
        </p:txBody>
      </p:sp>
      <p:sp>
        <p:nvSpPr>
          <p:cNvPr id="102" name="TextBox 101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4144642" y="2795773"/>
            <a:ext cx="1526698" cy="223136"/>
          </a:xfrm>
          <a:prstGeom prst="rect">
            <a:avLst/>
          </a:prstGeom>
          <a:noFill/>
          <a:ln>
            <a:noFill/>
          </a:ln>
        </p:spPr>
        <p:txBody>
          <a:bodyPr wrap="non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rgbClr val="989898"/>
                </a:solidFill>
              </a:rPr>
              <a:t>AUTOMATE PROCESS</a:t>
            </a:r>
          </a:p>
        </p:txBody>
      </p:sp>
      <p:sp>
        <p:nvSpPr>
          <p:cNvPr id="103" name="TextBox 102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4086613" y="2972718"/>
            <a:ext cx="1642748" cy="438580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Implementation / INDIVIDUALLY, discuss whether all automate the same part or parts are separated</a:t>
            </a:r>
          </a:p>
        </p:txBody>
      </p:sp>
      <p:sp>
        <p:nvSpPr>
          <p:cNvPr id="105" name="TextBox 104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4860805" y="4310850"/>
            <a:ext cx="1642748" cy="25391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chemeClr val="accent3"/>
                </a:solidFill>
              </a:rPr>
              <a:t>Monitor &amp; control the process behavior in reality </a:t>
            </a:r>
            <a:r>
              <a:rPr lang="en-US" sz="6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- </a:t>
            </a:r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OPTIONAL</a:t>
            </a:r>
          </a:p>
        </p:txBody>
      </p:sp>
      <p:sp>
        <p:nvSpPr>
          <p:cNvPr id="127" name="POWER_USER_ID_ICONS_Board"/>
          <p:cNvSpPr>
            <a:spLocks noChangeAspect="1" noEditPoints="1"/>
          </p:cNvSpPr>
          <p:nvPr>
            <p:custDataLst>
              <p:tags r:id="rId21"/>
            </p:custDataLst>
          </p:nvPr>
        </p:nvSpPr>
        <p:spPr bwMode="auto">
          <a:xfrm>
            <a:off x="7608545" y="1827225"/>
            <a:ext cx="293032" cy="372311"/>
          </a:xfrm>
          <a:custGeom>
            <a:avLst/>
            <a:gdLst>
              <a:gd name="T0" fmla="*/ 516 w 567"/>
              <a:gd name="T1" fmla="*/ 239 h 719"/>
              <a:gd name="T2" fmla="*/ 497 w 567"/>
              <a:gd name="T3" fmla="*/ 268 h 719"/>
              <a:gd name="T4" fmla="*/ 327 w 567"/>
              <a:gd name="T5" fmla="*/ 393 h 719"/>
              <a:gd name="T6" fmla="*/ 309 w 567"/>
              <a:gd name="T7" fmla="*/ 411 h 719"/>
              <a:gd name="T8" fmla="*/ 261 w 567"/>
              <a:gd name="T9" fmla="*/ 428 h 719"/>
              <a:gd name="T10" fmla="*/ 233 w 567"/>
              <a:gd name="T11" fmla="*/ 260 h 719"/>
              <a:gd name="T12" fmla="*/ 233 w 567"/>
              <a:gd name="T13" fmla="*/ 257 h 719"/>
              <a:gd name="T14" fmla="*/ 96 w 567"/>
              <a:gd name="T15" fmla="*/ 440 h 719"/>
              <a:gd name="T16" fmla="*/ 75 w 567"/>
              <a:gd name="T17" fmla="*/ 452 h 719"/>
              <a:gd name="T18" fmla="*/ 62 w 567"/>
              <a:gd name="T19" fmla="*/ 448 h 719"/>
              <a:gd name="T20" fmla="*/ 54 w 567"/>
              <a:gd name="T21" fmla="*/ 414 h 719"/>
              <a:gd name="T22" fmla="*/ 253 w 567"/>
              <a:gd name="T23" fmla="*/ 203 h 719"/>
              <a:gd name="T24" fmla="*/ 283 w 567"/>
              <a:gd name="T25" fmla="*/ 260 h 719"/>
              <a:gd name="T26" fmla="*/ 285 w 567"/>
              <a:gd name="T27" fmla="*/ 365 h 719"/>
              <a:gd name="T28" fmla="*/ 291 w 567"/>
              <a:gd name="T29" fmla="*/ 359 h 719"/>
              <a:gd name="T30" fmla="*/ 487 w 567"/>
              <a:gd name="T31" fmla="*/ 219 h 719"/>
              <a:gd name="T32" fmla="*/ 516 w 567"/>
              <a:gd name="T33" fmla="*/ 239 h 719"/>
              <a:gd name="T34" fmla="*/ 222 w 567"/>
              <a:gd name="T35" fmla="*/ 3 h 719"/>
              <a:gd name="T36" fmla="*/ 192 w 567"/>
              <a:gd name="T37" fmla="*/ 22 h 719"/>
              <a:gd name="T38" fmla="*/ 172 w 567"/>
              <a:gd name="T39" fmla="*/ 110 h 719"/>
              <a:gd name="T40" fmla="*/ 133 w 567"/>
              <a:gd name="T41" fmla="*/ 110 h 719"/>
              <a:gd name="T42" fmla="*/ 110 w 567"/>
              <a:gd name="T43" fmla="*/ 127 h 719"/>
              <a:gd name="T44" fmla="*/ 35 w 567"/>
              <a:gd name="T45" fmla="*/ 127 h 719"/>
              <a:gd name="T46" fmla="*/ 0 w 567"/>
              <a:gd name="T47" fmla="*/ 156 h 719"/>
              <a:gd name="T48" fmla="*/ 0 w 567"/>
              <a:gd name="T49" fmla="*/ 464 h 719"/>
              <a:gd name="T50" fmla="*/ 35 w 567"/>
              <a:gd name="T51" fmla="*/ 494 h 719"/>
              <a:gd name="T52" fmla="*/ 86 w 567"/>
              <a:gd name="T53" fmla="*/ 494 h 719"/>
              <a:gd name="T54" fmla="*/ 42 w 567"/>
              <a:gd name="T55" fmla="*/ 688 h 719"/>
              <a:gd name="T56" fmla="*/ 61 w 567"/>
              <a:gd name="T57" fmla="*/ 718 h 719"/>
              <a:gd name="T58" fmla="*/ 67 w 567"/>
              <a:gd name="T59" fmla="*/ 719 h 719"/>
              <a:gd name="T60" fmla="*/ 91 w 567"/>
              <a:gd name="T61" fmla="*/ 699 h 719"/>
              <a:gd name="T62" fmla="*/ 130 w 567"/>
              <a:gd name="T63" fmla="*/ 527 h 719"/>
              <a:gd name="T64" fmla="*/ 133 w 567"/>
              <a:gd name="T65" fmla="*/ 527 h 719"/>
              <a:gd name="T66" fmla="*/ 258 w 567"/>
              <a:gd name="T67" fmla="*/ 527 h 719"/>
              <a:gd name="T68" fmla="*/ 258 w 567"/>
              <a:gd name="T69" fmla="*/ 694 h 719"/>
              <a:gd name="T70" fmla="*/ 283 w 567"/>
              <a:gd name="T71" fmla="*/ 719 h 719"/>
              <a:gd name="T72" fmla="*/ 308 w 567"/>
              <a:gd name="T73" fmla="*/ 694 h 719"/>
              <a:gd name="T74" fmla="*/ 308 w 567"/>
              <a:gd name="T75" fmla="*/ 527 h 719"/>
              <a:gd name="T76" fmla="*/ 433 w 567"/>
              <a:gd name="T77" fmla="*/ 527 h 719"/>
              <a:gd name="T78" fmla="*/ 441 w 567"/>
              <a:gd name="T79" fmla="*/ 526 h 719"/>
              <a:gd name="T80" fmla="*/ 475 w 567"/>
              <a:gd name="T81" fmla="*/ 699 h 719"/>
              <a:gd name="T82" fmla="*/ 500 w 567"/>
              <a:gd name="T83" fmla="*/ 719 h 719"/>
              <a:gd name="T84" fmla="*/ 505 w 567"/>
              <a:gd name="T85" fmla="*/ 718 h 719"/>
              <a:gd name="T86" fmla="*/ 525 w 567"/>
              <a:gd name="T87" fmla="*/ 689 h 719"/>
              <a:gd name="T88" fmla="*/ 485 w 567"/>
              <a:gd name="T89" fmla="*/ 494 h 719"/>
              <a:gd name="T90" fmla="*/ 531 w 567"/>
              <a:gd name="T91" fmla="*/ 494 h 719"/>
              <a:gd name="T92" fmla="*/ 567 w 567"/>
              <a:gd name="T93" fmla="*/ 464 h 719"/>
              <a:gd name="T94" fmla="*/ 567 w 567"/>
              <a:gd name="T95" fmla="*/ 156 h 719"/>
              <a:gd name="T96" fmla="*/ 531 w 567"/>
              <a:gd name="T97" fmla="*/ 127 h 719"/>
              <a:gd name="T98" fmla="*/ 457 w 567"/>
              <a:gd name="T99" fmla="*/ 127 h 719"/>
              <a:gd name="T100" fmla="*/ 433 w 567"/>
              <a:gd name="T101" fmla="*/ 110 h 719"/>
              <a:gd name="T102" fmla="*/ 409 w 567"/>
              <a:gd name="T103" fmla="*/ 110 h 719"/>
              <a:gd name="T104" fmla="*/ 391 w 567"/>
              <a:gd name="T105" fmla="*/ 22 h 719"/>
              <a:gd name="T106" fmla="*/ 362 w 567"/>
              <a:gd name="T107" fmla="*/ 2 h 719"/>
              <a:gd name="T108" fmla="*/ 342 w 567"/>
              <a:gd name="T109" fmla="*/ 32 h 719"/>
              <a:gd name="T110" fmla="*/ 358 w 567"/>
              <a:gd name="T111" fmla="*/ 110 h 719"/>
              <a:gd name="T112" fmla="*/ 224 w 567"/>
              <a:gd name="T113" fmla="*/ 110 h 719"/>
              <a:gd name="T114" fmla="*/ 241 w 567"/>
              <a:gd name="T115" fmla="*/ 32 h 719"/>
              <a:gd name="T116" fmla="*/ 222 w 567"/>
              <a:gd name="T117" fmla="*/ 3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67" h="719">
                <a:moveTo>
                  <a:pt x="516" y="239"/>
                </a:moveTo>
                <a:cubicBezTo>
                  <a:pt x="519" y="252"/>
                  <a:pt x="510" y="265"/>
                  <a:pt x="497" y="268"/>
                </a:cubicBezTo>
                <a:cubicBezTo>
                  <a:pt x="433" y="281"/>
                  <a:pt x="364" y="354"/>
                  <a:pt x="327" y="393"/>
                </a:cubicBezTo>
                <a:cubicBezTo>
                  <a:pt x="320" y="400"/>
                  <a:pt x="314" y="406"/>
                  <a:pt x="309" y="411"/>
                </a:cubicBezTo>
                <a:cubicBezTo>
                  <a:pt x="302" y="418"/>
                  <a:pt x="283" y="437"/>
                  <a:pt x="261" y="428"/>
                </a:cubicBezTo>
                <a:cubicBezTo>
                  <a:pt x="233" y="417"/>
                  <a:pt x="233" y="387"/>
                  <a:pt x="233" y="260"/>
                </a:cubicBezTo>
                <a:cubicBezTo>
                  <a:pt x="233" y="259"/>
                  <a:pt x="233" y="258"/>
                  <a:pt x="233" y="257"/>
                </a:cubicBezTo>
                <a:cubicBezTo>
                  <a:pt x="205" y="280"/>
                  <a:pt x="148" y="356"/>
                  <a:pt x="96" y="440"/>
                </a:cubicBezTo>
                <a:cubicBezTo>
                  <a:pt x="92" y="448"/>
                  <a:pt x="83" y="452"/>
                  <a:pt x="75" y="452"/>
                </a:cubicBezTo>
                <a:cubicBezTo>
                  <a:pt x="71" y="452"/>
                  <a:pt x="66" y="451"/>
                  <a:pt x="62" y="448"/>
                </a:cubicBezTo>
                <a:cubicBezTo>
                  <a:pt x="50" y="441"/>
                  <a:pt x="46" y="426"/>
                  <a:pt x="54" y="414"/>
                </a:cubicBezTo>
                <a:cubicBezTo>
                  <a:pt x="193" y="186"/>
                  <a:pt x="238" y="198"/>
                  <a:pt x="253" y="203"/>
                </a:cubicBezTo>
                <a:cubicBezTo>
                  <a:pt x="273" y="208"/>
                  <a:pt x="283" y="228"/>
                  <a:pt x="283" y="260"/>
                </a:cubicBezTo>
                <a:cubicBezTo>
                  <a:pt x="283" y="302"/>
                  <a:pt x="283" y="341"/>
                  <a:pt x="285" y="365"/>
                </a:cubicBezTo>
                <a:cubicBezTo>
                  <a:pt x="287" y="363"/>
                  <a:pt x="289" y="361"/>
                  <a:pt x="291" y="359"/>
                </a:cubicBezTo>
                <a:cubicBezTo>
                  <a:pt x="331" y="316"/>
                  <a:pt x="407" y="235"/>
                  <a:pt x="487" y="219"/>
                </a:cubicBezTo>
                <a:cubicBezTo>
                  <a:pt x="500" y="216"/>
                  <a:pt x="513" y="225"/>
                  <a:pt x="516" y="239"/>
                </a:cubicBezTo>
                <a:close/>
                <a:moveTo>
                  <a:pt x="222" y="3"/>
                </a:moveTo>
                <a:cubicBezTo>
                  <a:pt x="209" y="0"/>
                  <a:pt x="195" y="8"/>
                  <a:pt x="192" y="22"/>
                </a:cubicBezTo>
                <a:lnTo>
                  <a:pt x="172" y="110"/>
                </a:lnTo>
                <a:lnTo>
                  <a:pt x="133" y="110"/>
                </a:lnTo>
                <a:cubicBezTo>
                  <a:pt x="122" y="110"/>
                  <a:pt x="113" y="117"/>
                  <a:pt x="110" y="127"/>
                </a:cubicBezTo>
                <a:lnTo>
                  <a:pt x="35" y="127"/>
                </a:lnTo>
                <a:cubicBezTo>
                  <a:pt x="16" y="127"/>
                  <a:pt x="0" y="140"/>
                  <a:pt x="0" y="156"/>
                </a:cubicBezTo>
                <a:lnTo>
                  <a:pt x="0" y="464"/>
                </a:lnTo>
                <a:cubicBezTo>
                  <a:pt x="0" y="481"/>
                  <a:pt x="16" y="494"/>
                  <a:pt x="35" y="494"/>
                </a:cubicBezTo>
                <a:lnTo>
                  <a:pt x="86" y="494"/>
                </a:lnTo>
                <a:lnTo>
                  <a:pt x="42" y="688"/>
                </a:lnTo>
                <a:cubicBezTo>
                  <a:pt x="39" y="702"/>
                  <a:pt x="48" y="715"/>
                  <a:pt x="61" y="718"/>
                </a:cubicBezTo>
                <a:cubicBezTo>
                  <a:pt x="63" y="718"/>
                  <a:pt x="65" y="719"/>
                  <a:pt x="67" y="719"/>
                </a:cubicBezTo>
                <a:cubicBezTo>
                  <a:pt x="78" y="719"/>
                  <a:pt x="88" y="711"/>
                  <a:pt x="91" y="699"/>
                </a:cubicBezTo>
                <a:lnTo>
                  <a:pt x="130" y="527"/>
                </a:lnTo>
                <a:cubicBezTo>
                  <a:pt x="131" y="527"/>
                  <a:pt x="132" y="527"/>
                  <a:pt x="133" y="527"/>
                </a:cubicBezTo>
                <a:lnTo>
                  <a:pt x="258" y="527"/>
                </a:lnTo>
                <a:lnTo>
                  <a:pt x="258" y="694"/>
                </a:lnTo>
                <a:cubicBezTo>
                  <a:pt x="258" y="707"/>
                  <a:pt x="270" y="719"/>
                  <a:pt x="283" y="719"/>
                </a:cubicBezTo>
                <a:cubicBezTo>
                  <a:pt x="297" y="719"/>
                  <a:pt x="308" y="707"/>
                  <a:pt x="308" y="694"/>
                </a:cubicBezTo>
                <a:lnTo>
                  <a:pt x="308" y="527"/>
                </a:lnTo>
                <a:lnTo>
                  <a:pt x="433" y="527"/>
                </a:lnTo>
                <a:cubicBezTo>
                  <a:pt x="436" y="527"/>
                  <a:pt x="439" y="526"/>
                  <a:pt x="441" y="526"/>
                </a:cubicBezTo>
                <a:lnTo>
                  <a:pt x="475" y="699"/>
                </a:lnTo>
                <a:cubicBezTo>
                  <a:pt x="478" y="710"/>
                  <a:pt x="488" y="719"/>
                  <a:pt x="500" y="719"/>
                </a:cubicBezTo>
                <a:cubicBezTo>
                  <a:pt x="502" y="719"/>
                  <a:pt x="503" y="719"/>
                  <a:pt x="505" y="718"/>
                </a:cubicBezTo>
                <a:cubicBezTo>
                  <a:pt x="518" y="715"/>
                  <a:pt x="527" y="702"/>
                  <a:pt x="525" y="689"/>
                </a:cubicBezTo>
                <a:lnTo>
                  <a:pt x="485" y="494"/>
                </a:lnTo>
                <a:lnTo>
                  <a:pt x="531" y="494"/>
                </a:lnTo>
                <a:cubicBezTo>
                  <a:pt x="551" y="494"/>
                  <a:pt x="567" y="481"/>
                  <a:pt x="567" y="464"/>
                </a:cubicBezTo>
                <a:lnTo>
                  <a:pt x="567" y="156"/>
                </a:lnTo>
                <a:cubicBezTo>
                  <a:pt x="567" y="140"/>
                  <a:pt x="551" y="127"/>
                  <a:pt x="531" y="127"/>
                </a:cubicBezTo>
                <a:lnTo>
                  <a:pt x="457" y="127"/>
                </a:lnTo>
                <a:cubicBezTo>
                  <a:pt x="453" y="117"/>
                  <a:pt x="444" y="110"/>
                  <a:pt x="433" y="110"/>
                </a:cubicBezTo>
                <a:lnTo>
                  <a:pt x="409" y="110"/>
                </a:lnTo>
                <a:lnTo>
                  <a:pt x="391" y="22"/>
                </a:lnTo>
                <a:cubicBezTo>
                  <a:pt x="388" y="9"/>
                  <a:pt x="375" y="0"/>
                  <a:pt x="362" y="2"/>
                </a:cubicBezTo>
                <a:cubicBezTo>
                  <a:pt x="348" y="5"/>
                  <a:pt x="339" y="18"/>
                  <a:pt x="342" y="32"/>
                </a:cubicBezTo>
                <a:lnTo>
                  <a:pt x="358" y="110"/>
                </a:lnTo>
                <a:lnTo>
                  <a:pt x="224" y="110"/>
                </a:lnTo>
                <a:lnTo>
                  <a:pt x="241" y="32"/>
                </a:lnTo>
                <a:cubicBezTo>
                  <a:pt x="244" y="19"/>
                  <a:pt x="236" y="6"/>
                  <a:pt x="222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40" name="POWER_USER_ID_ICONS_Flag5"/>
          <p:cNvGrpSpPr>
            <a:grpSpLocks noChangeAspect="1"/>
          </p:cNvGrpSpPr>
          <p:nvPr>
            <p:custDataLst>
              <p:tags r:id="rId22"/>
            </p:custDataLst>
          </p:nvPr>
        </p:nvGrpSpPr>
        <p:grpSpPr bwMode="auto">
          <a:xfrm>
            <a:off x="826375" y="1264138"/>
            <a:ext cx="342842" cy="441594"/>
            <a:chOff x="8" y="5"/>
            <a:chExt cx="368" cy="474"/>
          </a:xfrm>
          <a:solidFill>
            <a:schemeClr val="bg1">
              <a:lumMod val="65000"/>
            </a:schemeClr>
          </a:solidFill>
        </p:grpSpPr>
        <p:sp>
          <p:nvSpPr>
            <p:cNvPr id="141" name="POWER_USER_ID_ICONS_Flag5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8" y="5"/>
              <a:ext cx="26" cy="474"/>
            </a:xfrm>
            <a:custGeom>
              <a:avLst/>
              <a:gdLst>
                <a:gd name="T0" fmla="*/ 68 w 68"/>
                <a:gd name="T1" fmla="*/ 1223 h 1257"/>
                <a:gd name="T2" fmla="*/ 34 w 68"/>
                <a:gd name="T3" fmla="*/ 1257 h 1257"/>
                <a:gd name="T4" fmla="*/ 34 w 68"/>
                <a:gd name="T5" fmla="*/ 1257 h 1257"/>
                <a:gd name="T6" fmla="*/ 0 w 68"/>
                <a:gd name="T7" fmla="*/ 1223 h 1257"/>
                <a:gd name="T8" fmla="*/ 0 w 68"/>
                <a:gd name="T9" fmla="*/ 34 h 1257"/>
                <a:gd name="T10" fmla="*/ 34 w 68"/>
                <a:gd name="T11" fmla="*/ 0 h 1257"/>
                <a:gd name="T12" fmla="*/ 34 w 68"/>
                <a:gd name="T13" fmla="*/ 0 h 1257"/>
                <a:gd name="T14" fmla="*/ 68 w 68"/>
                <a:gd name="T15" fmla="*/ 34 h 1257"/>
                <a:gd name="T16" fmla="*/ 68 w 68"/>
                <a:gd name="T17" fmla="*/ 1223 h 1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57">
                  <a:moveTo>
                    <a:pt x="68" y="1223"/>
                  </a:moveTo>
                  <a:cubicBezTo>
                    <a:pt x="68" y="1242"/>
                    <a:pt x="53" y="1257"/>
                    <a:pt x="34" y="1257"/>
                  </a:cubicBezTo>
                  <a:lnTo>
                    <a:pt x="34" y="1257"/>
                  </a:lnTo>
                  <a:cubicBezTo>
                    <a:pt x="15" y="1257"/>
                    <a:pt x="0" y="1242"/>
                    <a:pt x="0" y="1223"/>
                  </a:cubicBezTo>
                  <a:lnTo>
                    <a:pt x="0" y="34"/>
                  </a:lnTo>
                  <a:cubicBezTo>
                    <a:pt x="0" y="15"/>
                    <a:pt x="15" y="0"/>
                    <a:pt x="34" y="0"/>
                  </a:cubicBezTo>
                  <a:lnTo>
                    <a:pt x="34" y="0"/>
                  </a:lnTo>
                  <a:cubicBezTo>
                    <a:pt x="53" y="0"/>
                    <a:pt x="68" y="15"/>
                    <a:pt x="68" y="34"/>
                  </a:cubicBezTo>
                  <a:lnTo>
                    <a:pt x="68" y="1223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2" name="POWER_USER_ID_ICONS_Flag5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34" y="26"/>
              <a:ext cx="55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3" name="POWER_USER_ID_ICONS_Flag5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88" y="81"/>
              <a:ext cx="56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4" name="POWER_USER_ID_ICONS_Flag5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34" y="136"/>
              <a:ext cx="55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5" name="POWER_USER_ID_ICONS_Flag5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88" y="191"/>
              <a:ext cx="56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6" name="POWER_USER_ID_ICONS_Flag5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144" y="26"/>
              <a:ext cx="54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7" name="POWER_USER_ID_ICONS_Flag5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198" y="81"/>
              <a:ext cx="55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8" name="POWER_USER_ID_ICONS_Flag5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144" y="136"/>
              <a:ext cx="54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9" name="POWER_USER_ID_ICONS_Flag5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198" y="191"/>
              <a:ext cx="55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0" name="POWER_USER_ID_ICONS_Flag5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253" y="26"/>
              <a:ext cx="56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1" name="POWER_USER_ID_ICONS_Flag5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309" y="81"/>
              <a:ext cx="54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2" name="POWER_USER_ID_ICONS_Flag5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253" y="136"/>
              <a:ext cx="56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3" name="POWER_USER_ID_ICONS_Flag5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309" y="191"/>
              <a:ext cx="54" cy="56"/>
            </a:xfrm>
            <a:prstGeom prst="rect">
              <a:avLst/>
            </a:pr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4" name="POWER_USER_ID_ICONS_Flag5"/>
            <p:cNvSpPr>
              <a:spLocks noEditPoints="1"/>
            </p:cNvSpPr>
            <p:nvPr>
              <p:custDataLst>
                <p:tags r:id="rId56"/>
              </p:custDataLst>
            </p:nvPr>
          </p:nvSpPr>
          <p:spPr bwMode="auto">
            <a:xfrm>
              <a:off x="15" y="15"/>
              <a:ext cx="361" cy="244"/>
            </a:xfrm>
            <a:custGeom>
              <a:avLst/>
              <a:gdLst>
                <a:gd name="T0" fmla="*/ 961 w 961"/>
                <a:gd name="T1" fmla="*/ 648 h 648"/>
                <a:gd name="T2" fmla="*/ 0 w 961"/>
                <a:gd name="T3" fmla="*/ 648 h 648"/>
                <a:gd name="T4" fmla="*/ 0 w 961"/>
                <a:gd name="T5" fmla="*/ 0 h 648"/>
                <a:gd name="T6" fmla="*/ 961 w 961"/>
                <a:gd name="T7" fmla="*/ 0 h 648"/>
                <a:gd name="T8" fmla="*/ 961 w 961"/>
                <a:gd name="T9" fmla="*/ 648 h 648"/>
                <a:gd name="T10" fmla="*/ 33 w 961"/>
                <a:gd name="T11" fmla="*/ 615 h 648"/>
                <a:gd name="T12" fmla="*/ 928 w 961"/>
                <a:gd name="T13" fmla="*/ 615 h 648"/>
                <a:gd name="T14" fmla="*/ 928 w 961"/>
                <a:gd name="T15" fmla="*/ 33 h 648"/>
                <a:gd name="T16" fmla="*/ 33 w 961"/>
                <a:gd name="T17" fmla="*/ 33 h 648"/>
                <a:gd name="T18" fmla="*/ 33 w 961"/>
                <a:gd name="T19" fmla="*/ 615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1" h="648">
                  <a:moveTo>
                    <a:pt x="961" y="648"/>
                  </a:moveTo>
                  <a:lnTo>
                    <a:pt x="0" y="648"/>
                  </a:lnTo>
                  <a:lnTo>
                    <a:pt x="0" y="0"/>
                  </a:lnTo>
                  <a:lnTo>
                    <a:pt x="961" y="0"/>
                  </a:lnTo>
                  <a:lnTo>
                    <a:pt x="961" y="648"/>
                  </a:lnTo>
                  <a:close/>
                  <a:moveTo>
                    <a:pt x="33" y="615"/>
                  </a:moveTo>
                  <a:lnTo>
                    <a:pt x="928" y="615"/>
                  </a:lnTo>
                  <a:lnTo>
                    <a:pt x="928" y="33"/>
                  </a:lnTo>
                  <a:lnTo>
                    <a:pt x="33" y="33"/>
                  </a:lnTo>
                  <a:lnTo>
                    <a:pt x="33" y="615"/>
                  </a:lnTo>
                  <a:close/>
                </a:path>
              </a:pathLst>
            </a:custGeom>
            <a:grpFill/>
            <a:ln w="0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</p:grpSp>
      <p:cxnSp>
        <p:nvCxnSpPr>
          <p:cNvPr id="194" name="Straight Connector 193"/>
          <p:cNvCxnSpPr>
            <a:cxnSpLocks/>
            <a:stCxn id="185" idx="6"/>
          </p:cNvCxnSpPr>
          <p:nvPr>
            <p:custDataLst>
              <p:tags r:id="rId23"/>
            </p:custDataLst>
          </p:nvPr>
        </p:nvCxnSpPr>
        <p:spPr>
          <a:xfrm>
            <a:off x="5434167" y="1377391"/>
            <a:ext cx="1723058" cy="8792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>
            <a:cxnSpLocks/>
            <a:stCxn id="16" idx="6"/>
            <a:endCxn id="185" idx="2"/>
          </p:cNvCxnSpPr>
          <p:nvPr>
            <p:custDataLst>
              <p:tags r:id="rId24"/>
            </p:custDataLst>
          </p:nvPr>
        </p:nvCxnSpPr>
        <p:spPr>
          <a:xfrm flipV="1">
            <a:off x="2914789" y="1377391"/>
            <a:ext cx="2312487" cy="12192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/>
          <p:cNvCxnSpPr>
            <a:cxnSpLocks/>
          </p:cNvCxnSpPr>
          <p:nvPr>
            <p:custDataLst>
              <p:tags r:id="rId25"/>
            </p:custDataLst>
          </p:nvPr>
        </p:nvCxnSpPr>
        <p:spPr>
          <a:xfrm>
            <a:off x="6389129" y="1383487"/>
            <a:ext cx="1036852" cy="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>
            <a:cxnSpLocks/>
            <a:endCxn id="38" idx="2"/>
          </p:cNvCxnSpPr>
          <p:nvPr>
            <p:custDataLst>
              <p:tags r:id="rId26"/>
            </p:custDataLst>
          </p:nvPr>
        </p:nvCxnSpPr>
        <p:spPr>
          <a:xfrm flipV="1">
            <a:off x="1545463" y="2671115"/>
            <a:ext cx="3259079" cy="7908"/>
          </a:xfrm>
          <a:prstGeom prst="line">
            <a:avLst/>
          </a:prstGeom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>
            <a:cxnSpLocks/>
          </p:cNvCxnSpPr>
          <p:nvPr>
            <p:custDataLst>
              <p:tags r:id="rId27"/>
            </p:custDataLst>
          </p:nvPr>
        </p:nvCxnSpPr>
        <p:spPr>
          <a:xfrm>
            <a:off x="1550248" y="3961700"/>
            <a:ext cx="2185237" cy="0"/>
          </a:xfrm>
          <a:prstGeom prst="line">
            <a:avLst/>
          </a:prstGeom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>
            <a:cxnSpLocks/>
            <a:stCxn id="44" idx="6"/>
          </p:cNvCxnSpPr>
          <p:nvPr>
            <p:custDataLst>
              <p:tags r:id="rId28"/>
            </p:custDataLst>
          </p:nvPr>
        </p:nvCxnSpPr>
        <p:spPr>
          <a:xfrm flipV="1">
            <a:off x="5785625" y="3961160"/>
            <a:ext cx="1600148" cy="540"/>
          </a:xfrm>
          <a:prstGeom prst="line">
            <a:avLst/>
          </a:prstGeom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/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7944756" y="3618759"/>
            <a:ext cx="1031799" cy="68480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rgbClr val="006F97"/>
                </a:solidFill>
              </a:rPr>
              <a:t>Successful</a:t>
            </a:r>
          </a:p>
          <a:p>
            <a:pPr algn="ctr">
              <a:defRPr/>
            </a:pPr>
            <a:r>
              <a:rPr lang="en-US" sz="1000" b="1" kern="0" cap="all" dirty="0">
                <a:solidFill>
                  <a:srgbClr val="006F97"/>
                </a:solidFill>
              </a:rPr>
              <a:t>PROCESS</a:t>
            </a:r>
          </a:p>
          <a:p>
            <a:pPr algn="ctr">
              <a:defRPr/>
            </a:pPr>
            <a:r>
              <a:rPr lang="en-US" sz="1000" b="1" kern="0" cap="all" dirty="0">
                <a:solidFill>
                  <a:srgbClr val="006F97"/>
                </a:solidFill>
              </a:rPr>
              <a:t>TRANSFOR-MATION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84EF2FF6-8A0C-4E4D-BDD7-732E70128CE0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8030766" y="1565841"/>
            <a:ext cx="801747" cy="68480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1100" b="1" kern="0" cap="all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z="1000" dirty="0">
                <a:solidFill>
                  <a:schemeClr val="accent5"/>
                </a:solidFill>
              </a:rPr>
              <a:t>SHOW RESULT / </a:t>
            </a:r>
            <a:r>
              <a:rPr lang="en-US" sz="1000" dirty="0" err="1">
                <a:solidFill>
                  <a:schemeClr val="accent5"/>
                </a:solidFill>
              </a:rPr>
              <a:t>AnAlyze</a:t>
            </a:r>
            <a:r>
              <a:rPr lang="en-US" sz="1000" dirty="0">
                <a:solidFill>
                  <a:schemeClr val="accent5"/>
                </a:solidFill>
              </a:rPr>
              <a:t> diff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BEF6A5E2-1113-4CAE-9AD4-EEDD018ACFF6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8046720" y="2224480"/>
            <a:ext cx="785793" cy="25391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As-is vs. to-be / INDIVIDUALLY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DE631DEF-2090-4D7E-866F-407A35AE8F4E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133210" y="3125672"/>
            <a:ext cx="792594" cy="37702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1100" b="1" kern="0" cap="all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z="1000" dirty="0">
                <a:solidFill>
                  <a:prstClr val="white">
                    <a:lumMod val="65000"/>
                  </a:prstClr>
                </a:solidFill>
              </a:rPr>
              <a:t>EXECUTE PROCESS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97D80F25-1FFC-46D3-9ABD-4577CC0363CD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1409709" y="2948410"/>
            <a:ext cx="1418916" cy="715578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700" b="1" dirty="0">
                <a:solidFill>
                  <a:srgbClr val="333333">
                    <a:lumMod val="50000"/>
                  </a:srgbClr>
                </a:solidFill>
              </a:rPr>
              <a:t>INDIVIDUALLY / discuss whether to show the execution of the entire process or all show the same part (see automate process)</a:t>
            </a: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99971793-E797-47D1-A918-B057BE4C5918}"/>
              </a:ext>
            </a:extLst>
          </p:cNvPr>
          <p:cNvSpPr>
            <a:spLocks noChangeAspect="1"/>
          </p:cNvSpPr>
          <p:nvPr>
            <p:custDataLst>
              <p:tags r:id="rId34"/>
            </p:custDataLst>
          </p:nvPr>
        </p:nvSpPr>
        <p:spPr>
          <a:xfrm>
            <a:off x="7356258" y="3683634"/>
            <a:ext cx="566281" cy="566281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79" tIns="34289" rIns="68579" bIns="34289"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76" name="POWER_USER_ID_ICONS_Rocket2">
            <a:extLst>
              <a:ext uri="{FF2B5EF4-FFF2-40B4-BE49-F238E27FC236}">
                <a16:creationId xmlns:a16="http://schemas.microsoft.com/office/drawing/2014/main" id="{B921EE3C-2CB5-4A5A-A87C-32412DBD3D18}"/>
              </a:ext>
            </a:extLst>
          </p:cNvPr>
          <p:cNvGrpSpPr>
            <a:grpSpLocks noChangeAspect="1"/>
          </p:cNvGrpSpPr>
          <p:nvPr>
            <p:custDataLst>
              <p:tags r:id="rId35"/>
            </p:custDataLst>
          </p:nvPr>
        </p:nvGrpSpPr>
        <p:grpSpPr bwMode="auto">
          <a:xfrm>
            <a:off x="7484927" y="3814843"/>
            <a:ext cx="310496" cy="307695"/>
            <a:chOff x="2506" y="943"/>
            <a:chExt cx="2548" cy="2525"/>
          </a:xfrm>
          <a:solidFill>
            <a:schemeClr val="bg1"/>
          </a:solidFill>
        </p:grpSpPr>
        <p:sp>
          <p:nvSpPr>
            <p:cNvPr id="177" name="Freeform 619">
              <a:extLst>
                <a:ext uri="{FF2B5EF4-FFF2-40B4-BE49-F238E27FC236}">
                  <a16:creationId xmlns:a16="http://schemas.microsoft.com/office/drawing/2014/main" id="{C4FF1F98-A29D-4287-8068-9790E212A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0" y="2410"/>
              <a:ext cx="1044" cy="1046"/>
            </a:xfrm>
            <a:custGeom>
              <a:avLst/>
              <a:gdLst>
                <a:gd name="T0" fmla="*/ 263 w 263"/>
                <a:gd name="T1" fmla="*/ 94 h 263"/>
                <a:gd name="T2" fmla="*/ 253 w 263"/>
                <a:gd name="T3" fmla="*/ 94 h 263"/>
                <a:gd name="T4" fmla="*/ 234 w 263"/>
                <a:gd name="T5" fmla="*/ 94 h 263"/>
                <a:gd name="T6" fmla="*/ 151 w 263"/>
                <a:gd name="T7" fmla="*/ 159 h 263"/>
                <a:gd name="T8" fmla="*/ 118 w 263"/>
                <a:gd name="T9" fmla="*/ 178 h 263"/>
                <a:gd name="T10" fmla="*/ 95 w 263"/>
                <a:gd name="T11" fmla="*/ 167 h 263"/>
                <a:gd name="T12" fmla="*/ 85 w 263"/>
                <a:gd name="T13" fmla="*/ 144 h 263"/>
                <a:gd name="T14" fmla="*/ 104 w 263"/>
                <a:gd name="T15" fmla="*/ 112 h 263"/>
                <a:gd name="T16" fmla="*/ 106 w 263"/>
                <a:gd name="T17" fmla="*/ 109 h 263"/>
                <a:gd name="T18" fmla="*/ 169 w 263"/>
                <a:gd name="T19" fmla="*/ 29 h 263"/>
                <a:gd name="T20" fmla="*/ 168 w 263"/>
                <a:gd name="T21" fmla="*/ 0 h 263"/>
                <a:gd name="T22" fmla="*/ 146 w 263"/>
                <a:gd name="T23" fmla="*/ 20 h 263"/>
                <a:gd name="T24" fmla="*/ 11 w 263"/>
                <a:gd name="T25" fmla="*/ 252 h 263"/>
                <a:gd name="T26" fmla="*/ 243 w 263"/>
                <a:gd name="T27" fmla="*/ 117 h 263"/>
                <a:gd name="T28" fmla="*/ 263 w 263"/>
                <a:gd name="T29" fmla="*/ 94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263">
                  <a:moveTo>
                    <a:pt x="263" y="94"/>
                  </a:moveTo>
                  <a:cubicBezTo>
                    <a:pt x="259" y="94"/>
                    <a:pt x="256" y="94"/>
                    <a:pt x="253" y="94"/>
                  </a:cubicBezTo>
                  <a:cubicBezTo>
                    <a:pt x="246" y="94"/>
                    <a:pt x="240" y="94"/>
                    <a:pt x="234" y="94"/>
                  </a:cubicBezTo>
                  <a:lnTo>
                    <a:pt x="151" y="159"/>
                  </a:lnTo>
                  <a:cubicBezTo>
                    <a:pt x="142" y="168"/>
                    <a:pt x="132" y="178"/>
                    <a:pt x="118" y="178"/>
                  </a:cubicBezTo>
                  <a:cubicBezTo>
                    <a:pt x="110" y="178"/>
                    <a:pt x="102" y="174"/>
                    <a:pt x="95" y="167"/>
                  </a:cubicBezTo>
                  <a:cubicBezTo>
                    <a:pt x="88" y="160"/>
                    <a:pt x="85" y="153"/>
                    <a:pt x="85" y="144"/>
                  </a:cubicBezTo>
                  <a:cubicBezTo>
                    <a:pt x="85" y="130"/>
                    <a:pt x="95" y="121"/>
                    <a:pt x="104" y="112"/>
                  </a:cubicBezTo>
                  <a:lnTo>
                    <a:pt x="106" y="109"/>
                  </a:lnTo>
                  <a:lnTo>
                    <a:pt x="169" y="29"/>
                  </a:lnTo>
                  <a:cubicBezTo>
                    <a:pt x="168" y="20"/>
                    <a:pt x="168" y="11"/>
                    <a:pt x="168" y="0"/>
                  </a:cubicBezTo>
                  <a:cubicBezTo>
                    <a:pt x="161" y="6"/>
                    <a:pt x="154" y="12"/>
                    <a:pt x="146" y="20"/>
                  </a:cubicBezTo>
                  <a:cubicBezTo>
                    <a:pt x="62" y="104"/>
                    <a:pt x="0" y="242"/>
                    <a:pt x="11" y="252"/>
                  </a:cubicBezTo>
                  <a:cubicBezTo>
                    <a:pt x="21" y="263"/>
                    <a:pt x="158" y="201"/>
                    <a:pt x="243" y="117"/>
                  </a:cubicBezTo>
                  <a:cubicBezTo>
                    <a:pt x="251" y="109"/>
                    <a:pt x="257" y="102"/>
                    <a:pt x="263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8" name="Freeform 620">
              <a:extLst>
                <a:ext uri="{FF2B5EF4-FFF2-40B4-BE49-F238E27FC236}">
                  <a16:creationId xmlns:a16="http://schemas.microsoft.com/office/drawing/2014/main" id="{AA40F49C-7DCC-4134-949A-CD4D47985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40"/>
              <a:ext cx="941" cy="931"/>
            </a:xfrm>
            <a:custGeom>
              <a:avLst/>
              <a:gdLst>
                <a:gd name="T0" fmla="*/ 0 w 237"/>
                <a:gd name="T1" fmla="*/ 234 h 234"/>
                <a:gd name="T2" fmla="*/ 5 w 237"/>
                <a:gd name="T3" fmla="*/ 228 h 234"/>
                <a:gd name="T4" fmla="*/ 10 w 237"/>
                <a:gd name="T5" fmla="*/ 224 h 234"/>
                <a:gd name="T6" fmla="*/ 221 w 237"/>
                <a:gd name="T7" fmla="*/ 60 h 234"/>
                <a:gd name="T8" fmla="*/ 232 w 237"/>
                <a:gd name="T9" fmla="*/ 1 h 234"/>
                <a:gd name="T10" fmla="*/ 223 w 237"/>
                <a:gd name="T11" fmla="*/ 0 h 234"/>
                <a:gd name="T12" fmla="*/ 174 w 237"/>
                <a:gd name="T13" fmla="*/ 13 h 234"/>
                <a:gd name="T14" fmla="*/ 5 w 237"/>
                <a:gd name="T15" fmla="*/ 228 h 234"/>
                <a:gd name="T16" fmla="*/ 0 w 237"/>
                <a:gd name="T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234">
                  <a:moveTo>
                    <a:pt x="0" y="234"/>
                  </a:moveTo>
                  <a:cubicBezTo>
                    <a:pt x="2" y="232"/>
                    <a:pt x="4" y="230"/>
                    <a:pt x="5" y="228"/>
                  </a:cubicBezTo>
                  <a:lnTo>
                    <a:pt x="10" y="224"/>
                  </a:lnTo>
                  <a:lnTo>
                    <a:pt x="221" y="60"/>
                  </a:lnTo>
                  <a:cubicBezTo>
                    <a:pt x="228" y="51"/>
                    <a:pt x="237" y="13"/>
                    <a:pt x="232" y="1"/>
                  </a:cubicBezTo>
                  <a:cubicBezTo>
                    <a:pt x="231" y="1"/>
                    <a:pt x="228" y="0"/>
                    <a:pt x="223" y="0"/>
                  </a:cubicBezTo>
                  <a:cubicBezTo>
                    <a:pt x="203" y="0"/>
                    <a:pt x="180" y="8"/>
                    <a:pt x="174" y="13"/>
                  </a:cubicBezTo>
                  <a:lnTo>
                    <a:pt x="5" y="228"/>
                  </a:lnTo>
                  <a:cubicBezTo>
                    <a:pt x="4" y="230"/>
                    <a:pt x="2" y="232"/>
                    <a:pt x="0" y="2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9" name="Freeform 621">
              <a:extLst>
                <a:ext uri="{FF2B5EF4-FFF2-40B4-BE49-F238E27FC236}">
                  <a16:creationId xmlns:a16="http://schemas.microsoft.com/office/drawing/2014/main" id="{412BF894-3A54-4608-9880-1237A5A10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9" y="2514"/>
              <a:ext cx="1100" cy="954"/>
            </a:xfrm>
            <a:custGeom>
              <a:avLst/>
              <a:gdLst>
                <a:gd name="T0" fmla="*/ 73 w 277"/>
                <a:gd name="T1" fmla="*/ 67 h 240"/>
                <a:gd name="T2" fmla="*/ 11 w 277"/>
                <a:gd name="T3" fmla="*/ 205 h 240"/>
                <a:gd name="T4" fmla="*/ 55 w 277"/>
                <a:gd name="T5" fmla="*/ 221 h 240"/>
                <a:gd name="T6" fmla="*/ 190 w 277"/>
                <a:gd name="T7" fmla="*/ 147 h 240"/>
                <a:gd name="T8" fmla="*/ 276 w 277"/>
                <a:gd name="T9" fmla="*/ 13 h 240"/>
                <a:gd name="T10" fmla="*/ 275 w 277"/>
                <a:gd name="T11" fmla="*/ 0 h 240"/>
                <a:gd name="T12" fmla="*/ 73 w 277"/>
                <a:gd name="T13" fmla="*/ 67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40">
                  <a:moveTo>
                    <a:pt x="73" y="67"/>
                  </a:moveTo>
                  <a:cubicBezTo>
                    <a:pt x="43" y="128"/>
                    <a:pt x="11" y="205"/>
                    <a:pt x="11" y="205"/>
                  </a:cubicBezTo>
                  <a:cubicBezTo>
                    <a:pt x="0" y="225"/>
                    <a:pt x="17" y="240"/>
                    <a:pt x="55" y="221"/>
                  </a:cubicBezTo>
                  <a:lnTo>
                    <a:pt x="190" y="147"/>
                  </a:lnTo>
                  <a:cubicBezTo>
                    <a:pt x="263" y="106"/>
                    <a:pt x="277" y="96"/>
                    <a:pt x="276" y="13"/>
                  </a:cubicBezTo>
                  <a:lnTo>
                    <a:pt x="275" y="0"/>
                  </a:lnTo>
                  <a:cubicBezTo>
                    <a:pt x="209" y="46"/>
                    <a:pt x="134" y="63"/>
                    <a:pt x="73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0" name="Freeform 622">
              <a:extLst>
                <a:ext uri="{FF2B5EF4-FFF2-40B4-BE49-F238E27FC236}">
                  <a16:creationId xmlns:a16="http://schemas.microsoft.com/office/drawing/2014/main" id="{DEFE8A90-9D2E-4269-8374-D97076926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6" y="1511"/>
              <a:ext cx="937" cy="1102"/>
            </a:xfrm>
            <a:custGeom>
              <a:avLst/>
              <a:gdLst>
                <a:gd name="T0" fmla="*/ 35 w 236"/>
                <a:gd name="T1" fmla="*/ 266 h 277"/>
                <a:gd name="T2" fmla="*/ 170 w 236"/>
                <a:gd name="T3" fmla="*/ 206 h 277"/>
                <a:gd name="T4" fmla="*/ 236 w 236"/>
                <a:gd name="T5" fmla="*/ 2 h 277"/>
                <a:gd name="T6" fmla="*/ 227 w 236"/>
                <a:gd name="T7" fmla="*/ 1 h 277"/>
                <a:gd name="T8" fmla="*/ 94 w 236"/>
                <a:gd name="T9" fmla="*/ 87 h 277"/>
                <a:gd name="T10" fmla="*/ 20 w 236"/>
                <a:gd name="T11" fmla="*/ 223 h 277"/>
                <a:gd name="T12" fmla="*/ 35 w 236"/>
                <a:gd name="T13" fmla="*/ 26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6" h="277">
                  <a:moveTo>
                    <a:pt x="35" y="266"/>
                  </a:moveTo>
                  <a:cubicBezTo>
                    <a:pt x="35" y="266"/>
                    <a:pt x="109" y="235"/>
                    <a:pt x="170" y="206"/>
                  </a:cubicBezTo>
                  <a:cubicBezTo>
                    <a:pt x="174" y="147"/>
                    <a:pt x="189" y="70"/>
                    <a:pt x="236" y="2"/>
                  </a:cubicBezTo>
                  <a:lnTo>
                    <a:pt x="227" y="1"/>
                  </a:lnTo>
                  <a:cubicBezTo>
                    <a:pt x="145" y="0"/>
                    <a:pt x="134" y="14"/>
                    <a:pt x="94" y="87"/>
                  </a:cubicBezTo>
                  <a:lnTo>
                    <a:pt x="20" y="223"/>
                  </a:lnTo>
                  <a:cubicBezTo>
                    <a:pt x="0" y="260"/>
                    <a:pt x="15" y="277"/>
                    <a:pt x="35" y="2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3" name="Freeform 623">
              <a:extLst>
                <a:ext uri="{FF2B5EF4-FFF2-40B4-BE49-F238E27FC236}">
                  <a16:creationId xmlns:a16="http://schemas.microsoft.com/office/drawing/2014/main" id="{10534F90-04BB-43BC-863B-DCA8BF7DE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6" y="943"/>
              <a:ext cx="1738" cy="1706"/>
            </a:xfrm>
            <a:custGeom>
              <a:avLst/>
              <a:gdLst>
                <a:gd name="T0" fmla="*/ 367 w 438"/>
                <a:gd name="T1" fmla="*/ 111 h 429"/>
                <a:gd name="T2" fmla="*/ 320 w 438"/>
                <a:gd name="T3" fmla="*/ 111 h 429"/>
                <a:gd name="T4" fmla="*/ 320 w 438"/>
                <a:gd name="T5" fmla="*/ 64 h 429"/>
                <a:gd name="T6" fmla="*/ 367 w 438"/>
                <a:gd name="T7" fmla="*/ 64 h 429"/>
                <a:gd name="T8" fmla="*/ 367 w 438"/>
                <a:gd name="T9" fmla="*/ 111 h 429"/>
                <a:gd name="T10" fmla="*/ 296 w 438"/>
                <a:gd name="T11" fmla="*/ 229 h 429"/>
                <a:gd name="T12" fmla="*/ 202 w 438"/>
                <a:gd name="T13" fmla="*/ 229 h 429"/>
                <a:gd name="T14" fmla="*/ 202 w 438"/>
                <a:gd name="T15" fmla="*/ 135 h 429"/>
                <a:gd name="T16" fmla="*/ 296 w 438"/>
                <a:gd name="T17" fmla="*/ 135 h 429"/>
                <a:gd name="T18" fmla="*/ 296 w 438"/>
                <a:gd name="T19" fmla="*/ 229 h 429"/>
                <a:gd name="T20" fmla="*/ 383 w 438"/>
                <a:gd name="T21" fmla="*/ 0 h 429"/>
                <a:gd name="T22" fmla="*/ 93 w 438"/>
                <a:gd name="T23" fmla="*/ 124 h 429"/>
                <a:gd name="T24" fmla="*/ 0 w 438"/>
                <a:gd name="T25" fmla="*/ 354 h 429"/>
                <a:gd name="T26" fmla="*/ 69 w 438"/>
                <a:gd name="T27" fmla="*/ 265 h 429"/>
                <a:gd name="T28" fmla="*/ 142 w 438"/>
                <a:gd name="T29" fmla="*/ 243 h 429"/>
                <a:gd name="T30" fmla="*/ 175 w 438"/>
                <a:gd name="T31" fmla="*/ 254 h 429"/>
                <a:gd name="T32" fmla="*/ 163 w 438"/>
                <a:gd name="T33" fmla="*/ 360 h 429"/>
                <a:gd name="T34" fmla="*/ 162 w 438"/>
                <a:gd name="T35" fmla="*/ 361 h 429"/>
                <a:gd name="T36" fmla="*/ 74 w 438"/>
                <a:gd name="T37" fmla="*/ 429 h 429"/>
                <a:gd name="T38" fmla="*/ 304 w 438"/>
                <a:gd name="T39" fmla="*/ 336 h 429"/>
                <a:gd name="T40" fmla="*/ 422 w 438"/>
                <a:gd name="T41" fmla="*/ 6 h 429"/>
                <a:gd name="T42" fmla="*/ 383 w 438"/>
                <a:gd name="T43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8" h="429">
                  <a:moveTo>
                    <a:pt x="367" y="111"/>
                  </a:moveTo>
                  <a:cubicBezTo>
                    <a:pt x="354" y="124"/>
                    <a:pt x="333" y="124"/>
                    <a:pt x="320" y="111"/>
                  </a:cubicBezTo>
                  <a:cubicBezTo>
                    <a:pt x="307" y="98"/>
                    <a:pt x="307" y="77"/>
                    <a:pt x="320" y="64"/>
                  </a:cubicBezTo>
                  <a:cubicBezTo>
                    <a:pt x="333" y="51"/>
                    <a:pt x="354" y="51"/>
                    <a:pt x="367" y="64"/>
                  </a:cubicBezTo>
                  <a:cubicBezTo>
                    <a:pt x="380" y="77"/>
                    <a:pt x="380" y="98"/>
                    <a:pt x="367" y="111"/>
                  </a:cubicBezTo>
                  <a:close/>
                  <a:moveTo>
                    <a:pt x="296" y="229"/>
                  </a:moveTo>
                  <a:cubicBezTo>
                    <a:pt x="270" y="255"/>
                    <a:pt x="228" y="255"/>
                    <a:pt x="202" y="229"/>
                  </a:cubicBezTo>
                  <a:cubicBezTo>
                    <a:pt x="176" y="203"/>
                    <a:pt x="176" y="161"/>
                    <a:pt x="202" y="135"/>
                  </a:cubicBezTo>
                  <a:cubicBezTo>
                    <a:pt x="228" y="109"/>
                    <a:pt x="270" y="109"/>
                    <a:pt x="296" y="135"/>
                  </a:cubicBezTo>
                  <a:cubicBezTo>
                    <a:pt x="322" y="161"/>
                    <a:pt x="322" y="203"/>
                    <a:pt x="296" y="229"/>
                  </a:cubicBezTo>
                  <a:close/>
                  <a:moveTo>
                    <a:pt x="383" y="0"/>
                  </a:moveTo>
                  <a:cubicBezTo>
                    <a:pt x="303" y="0"/>
                    <a:pt x="178" y="39"/>
                    <a:pt x="93" y="124"/>
                  </a:cubicBezTo>
                  <a:cubicBezTo>
                    <a:pt x="22" y="195"/>
                    <a:pt x="3" y="288"/>
                    <a:pt x="0" y="354"/>
                  </a:cubicBezTo>
                  <a:lnTo>
                    <a:pt x="69" y="265"/>
                  </a:lnTo>
                  <a:cubicBezTo>
                    <a:pt x="82" y="252"/>
                    <a:pt x="117" y="243"/>
                    <a:pt x="142" y="243"/>
                  </a:cubicBezTo>
                  <a:cubicBezTo>
                    <a:pt x="157" y="243"/>
                    <a:pt x="168" y="247"/>
                    <a:pt x="175" y="254"/>
                  </a:cubicBezTo>
                  <a:cubicBezTo>
                    <a:pt x="197" y="276"/>
                    <a:pt x="180" y="343"/>
                    <a:pt x="163" y="360"/>
                  </a:cubicBezTo>
                  <a:lnTo>
                    <a:pt x="162" y="361"/>
                  </a:lnTo>
                  <a:lnTo>
                    <a:pt x="74" y="429"/>
                  </a:lnTo>
                  <a:cubicBezTo>
                    <a:pt x="145" y="426"/>
                    <a:pt x="235" y="405"/>
                    <a:pt x="304" y="336"/>
                  </a:cubicBezTo>
                  <a:cubicBezTo>
                    <a:pt x="431" y="210"/>
                    <a:pt x="438" y="26"/>
                    <a:pt x="422" y="6"/>
                  </a:cubicBezTo>
                  <a:cubicBezTo>
                    <a:pt x="421" y="5"/>
                    <a:pt x="410" y="0"/>
                    <a:pt x="38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85" name="Oval 184">
            <a:extLst>
              <a:ext uri="{FF2B5EF4-FFF2-40B4-BE49-F238E27FC236}">
                <a16:creationId xmlns:a16="http://schemas.microsoft.com/office/drawing/2014/main" id="{45077393-33D6-4965-B566-088B7BE6FE8F}"/>
              </a:ext>
            </a:extLst>
          </p:cNvPr>
          <p:cNvSpPr>
            <a:spLocks noChangeAspect="1"/>
          </p:cNvSpPr>
          <p:nvPr>
            <p:custDataLst>
              <p:tags r:id="rId36"/>
            </p:custDataLst>
          </p:nvPr>
        </p:nvSpPr>
        <p:spPr>
          <a:xfrm>
            <a:off x="5227276" y="1273945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C0EE84CE-4001-4EBD-B135-7B9DC503D6A5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>
          <a:xfrm>
            <a:off x="2597242" y="4111782"/>
            <a:ext cx="1750273" cy="37702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algn="ctr">
              <a:defRPr/>
            </a:pPr>
            <a:r>
              <a:rPr lang="en-US" sz="1000" b="1" kern="0" cap="all" dirty="0">
                <a:solidFill>
                  <a:srgbClr val="31ABD6"/>
                </a:solidFill>
              </a:rPr>
              <a:t>ROLL-OUT to EMPLOYEES</a:t>
            </a: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093EEEA7-09DA-488E-BC53-8AF6015BDBF8}"/>
              </a:ext>
            </a:extLst>
          </p:cNvPr>
          <p:cNvSpPr>
            <a:spLocks noChangeAspect="1"/>
          </p:cNvSpPr>
          <p:nvPr>
            <p:custDataLst>
              <p:tags r:id="rId38"/>
            </p:custDataLst>
          </p:nvPr>
        </p:nvSpPr>
        <p:spPr>
          <a:xfrm>
            <a:off x="3352942" y="3858254"/>
            <a:ext cx="206891" cy="206891"/>
          </a:xfrm>
          <a:prstGeom prst="ellipse">
            <a:avLst/>
          </a:prstGeom>
          <a:solidFill>
            <a:schemeClr val="bg1"/>
          </a:solidFill>
          <a:ln w="38100">
            <a:solidFill>
              <a:srgbClr val="31AB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4289" rIns="0" bIns="34289" rtlCol="0" anchor="ctr"/>
          <a:lstStyle/>
          <a:p>
            <a:pPr algn="ctr">
              <a:defRPr/>
            </a:pPr>
            <a:endParaRPr lang="en-US" sz="800" kern="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2D6ED005-FD49-4883-839B-64ABA662A837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>
          <a:xfrm>
            <a:off x="2716177" y="4468522"/>
            <a:ext cx="1480419" cy="530913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chemeClr val="accent3"/>
                </a:solidFill>
              </a:rPr>
              <a:t>HOW THE PROCESS CONSUMER SEES THE PROCESS </a:t>
            </a:r>
            <a:r>
              <a:rPr lang="en-US" sz="6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– </a:t>
            </a:r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OPTIONAL</a:t>
            </a:r>
          </a:p>
          <a:p>
            <a:r>
              <a:rPr lang="en-US" sz="600" b="1" dirty="0">
                <a:solidFill>
                  <a:schemeClr val="bg2"/>
                </a:solidFill>
              </a:rPr>
              <a:t>Background: Alternative ways to visualize BPMN based process knowledg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18684FD-1017-4E83-80A7-A013660A57D5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>
          <a:xfrm>
            <a:off x="1981907" y="1644415"/>
            <a:ext cx="1642748" cy="16158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>
            <a:defPPr>
              <a:defRPr lang="de-DE"/>
            </a:defPPr>
            <a:lvl1pPr algn="ctr">
              <a:defRPr sz="800" kern="0" cap="all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AS-IS (see </a:t>
            </a:r>
            <a:r>
              <a:rPr lang="en-US" sz="600" b="1" dirty="0" err="1">
                <a:solidFill>
                  <a:srgbClr val="333333">
                    <a:lumMod val="50000"/>
                  </a:srgbClr>
                </a:solidFill>
              </a:rPr>
              <a:t>github</a:t>
            </a:r>
            <a:r>
              <a:rPr lang="en-US" sz="600" b="1" dirty="0">
                <a:solidFill>
                  <a:srgbClr val="333333">
                    <a:lumMod val="50000"/>
                  </a:srgbClr>
                </a:solidFill>
              </a:rPr>
              <a:t>)</a:t>
            </a:r>
          </a:p>
        </p:txBody>
      </p:sp>
      <p:sp>
        <p:nvSpPr>
          <p:cNvPr id="78" name="Arc 77">
            <a:extLst>
              <a:ext uri="{FF2B5EF4-FFF2-40B4-BE49-F238E27FC236}">
                <a16:creationId xmlns:a16="http://schemas.microsoft.com/office/drawing/2014/main" id="{BBEFE670-BC79-48C9-956F-F9DD504903CD}"/>
              </a:ext>
            </a:extLst>
          </p:cNvPr>
          <p:cNvSpPr>
            <a:spLocks noChangeAspect="1"/>
          </p:cNvSpPr>
          <p:nvPr>
            <p:custDataLst>
              <p:tags r:id="rId41"/>
            </p:custDataLst>
          </p:nvPr>
        </p:nvSpPr>
        <p:spPr>
          <a:xfrm rot="16200000">
            <a:off x="1169844" y="2702228"/>
            <a:ext cx="760818" cy="714242"/>
          </a:xfrm>
          <a:prstGeom prst="arc">
            <a:avLst>
              <a:gd name="adj1" fmla="val 16200000"/>
              <a:gd name="adj2" fmla="val 66898"/>
            </a:avLst>
          </a:prstGeom>
          <a:ln w="381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pic>
        <p:nvPicPr>
          <p:cNvPr id="81" name="Grafik 1267">
            <a:extLst>
              <a:ext uri="{FF2B5EF4-FFF2-40B4-BE49-F238E27FC236}">
                <a16:creationId xmlns:a16="http://schemas.microsoft.com/office/drawing/2014/main" id="{08AD32CB-E690-4108-A66C-D22EBA9C0058}"/>
              </a:ext>
            </a:extLst>
          </p:cNvPr>
          <p:cNvPicPr>
            <a:picLocks noChangeAspect="1"/>
          </p:cNvPicPr>
          <p:nvPr/>
        </p:nvPicPr>
        <p:blipFill>
          <a:blip r:embed="rId5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133" y="3136935"/>
            <a:ext cx="351426" cy="351426"/>
          </a:xfrm>
          <a:prstGeom prst="rect">
            <a:avLst/>
          </a:prstGeom>
        </p:spPr>
      </p:pic>
      <p:sp>
        <p:nvSpPr>
          <p:cNvPr id="82" name="Diagonal liegende Ecken des Rechtecks abrunden 6">
            <a:extLst>
              <a:ext uri="{FF2B5EF4-FFF2-40B4-BE49-F238E27FC236}">
                <a16:creationId xmlns:a16="http://schemas.microsoft.com/office/drawing/2014/main" id="{CCB6DCC8-5487-4997-B757-41F1657498CF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6949440" y="-977"/>
            <a:ext cx="1793674" cy="262393"/>
          </a:xfrm>
          <a:prstGeom prst="round2SameRect">
            <a:avLst>
              <a:gd name="adj1" fmla="val 0"/>
              <a:gd name="adj2" fmla="val 26623"/>
            </a:avLst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all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aft – V2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382EE0F-645C-4E38-85E6-AFEB30C28A5B}"/>
              </a:ext>
            </a:extLst>
          </p:cNvPr>
          <p:cNvSpPr txBox="1"/>
          <p:nvPr/>
        </p:nvSpPr>
        <p:spPr>
          <a:xfrm rot="1057282">
            <a:off x="871167" y="3753359"/>
            <a:ext cx="1736955" cy="522065"/>
          </a:xfrm>
          <a:prstGeom prst="rect">
            <a:avLst/>
          </a:prstGeom>
          <a:noFill/>
        </p:spPr>
        <p:txBody>
          <a:bodyPr vert="horz" wrap="none" lIns="0" tIns="0" rIns="0" bIns="0" rtlCol="0">
            <a:prstTxWarp prst="textArchDown">
              <a:avLst/>
            </a:prstTxWarp>
            <a:spAutoFit/>
          </a:bodyPr>
          <a:lstStyle/>
          <a:p>
            <a:pPr>
              <a:spcBef>
                <a:spcPts val="432"/>
              </a:spcBef>
              <a:buClr>
                <a:schemeClr val="bg1">
                  <a:lumMod val="50000"/>
                </a:schemeClr>
              </a:buClr>
            </a:pPr>
            <a:r>
              <a:rPr lang="en-US" sz="1800" b="1" dirty="0">
                <a:solidFill>
                  <a:schemeClr val="bg2"/>
                </a:solidFill>
                <a:latin typeface="Bradley Hand ITC" panose="03070402050302030203" pitchFamily="66" charset="0"/>
              </a:rPr>
              <a:t>optional path under discuss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25981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0 Software AG. All rights reserved. For internal use only and for Software AG Partn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250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ustomer_journey_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aac4ebb1-f0d6-4546-b71a-ffbeff3df85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a5c660e9-5de6-4d74-bdd3-a047cb6b4b3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cf10a16c-1850-4561-9e37-4735062559f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d0cdcd-bc55-4a26-8512-1063d2d4e15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8f38516d-2a9b-4c3d-b55f-fcdee2cb9008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da9e1f92-26f1-4a06-ba6f-7fee9598ba96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68fe147-9dd1-47bd-9b2d-8726d041f766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a7353a3-cabe-4ce4-b7c3-75cb187091b9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SHAPEINFOGUID" val="ade84ad8-cdec-41ab-86b3-e85fc27555c9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  <p:tag name="SHAPEINFOGUID" val="0839a5fc-610f-4f2d-9e37-c19027b0561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0f014f1-0425-4265-8668-0b8537b26f8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008af843-9ffe-47c3-bac9-e0402a91267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1f8cb56-b976-41a7-b1b4-1f503d7ab3c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430bcbd-e2a4-4c6c-82e5-b09e2c0cb607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287ba10-914b-4f2b-84f4-7048fac7c2ab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8ec58dd2-5129-4ac9-87e1-b85571c1de1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db7287b-d4a7-42a5-a05e-12dca063a44f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4f003b2-9015-4f1d-bceb-ca02c753d1e9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d0cdcd-bc55-4a26-8512-1063d2d4e15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68fe147-9dd1-47bd-9b2d-8726d041f766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d0cdcd-bc55-4a26-8512-1063d2d4e15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68fe147-9dd1-47bd-9b2d-8726d041f76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08a579c2-17ba-4632-b8d0-29f6b9bdb29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26459d07-3cc9-4704-9700-e75c0375cfb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SHAPEINFOGUID" val="ea426bfa-d07e-4089-abcf-bf64fadfa0a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a4523a1-a33c-40a3-b675-d66c5dafddc6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5fbc0c42-1228-4323-9469-28e6dc7ddc8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fb679d8-afb2-4be9-a86a-e6e89c47878b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a7353a3-cabe-4ce4-b7c3-75cb187091b9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8f38516d-2a9b-4c3d-b55f-fcdee2cb9008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3c6c0d9-5ca8-4a53-83ca-30385d4a5368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ABEL-urn:sag:quickSlide:basic:slides#SAGLabels\c020c157-572b-4eee-be8d-ad6778cc21bf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5fbc0c42-1228-4323-9469-28e6dc7ddc8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d797725b-7eaa-4648-9560-ed30c2a68f59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f92dc9fa-b8b7-44d2-a9e5-7289f8350e2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a5c660e9-5de6-4d74-bdd3-a047cb6b4b3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cf10a16c-1850-4561-9e37-4735062559f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d0cdcd-bc55-4a26-8512-1063d2d4e15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8f38516d-2a9b-4c3d-b55f-fcdee2cb900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390,6186"/>
  <p:tag name="LEFT" val="53,17953"/>
  <p:tag name="WIDTH" val="178,5827"/>
  <p:tag name="HEIGHT" val="7,27031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da9e1f92-26f1-4a06-ba6f-7fee9598ba9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68fe147-9dd1-47bd-9b2d-8726d041f76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a7353a3-cabe-4ce4-b7c3-75cb187091b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SHAPEINFOGUID" val="ade84ad8-cdec-41ab-86b3-e85fc27555c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  <p:tag name="SHAPEINFOGUID" val="0839a5fc-610f-4f2d-9e37-c19027b0561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0f014f1-0425-4265-8668-0b8537b26f8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1f8cb56-b976-41a7-b1b4-1f503d7ab3c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430bcbd-e2a4-4c6c-82e5-b09e2c0cb60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287ba10-914b-4f2b-84f4-7048fac7c2ab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a2454bb4-c8f2-4104-8b1f-0e224d17a78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16,25"/>
  <p:tag name="LEFT" val="30,66646"/>
  <p:tag name="WIDTH" val="648"/>
  <p:tag name="HEIGHT" val="33,7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8ec58dd2-5129-4ac9-87e1-b85571c1de1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db7287b-d4a7-42a5-a05e-12dca063a44f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74f003b2-9015-4f1d-bceb-ca02c753d1e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d0cdcd-bc55-4a26-8512-1063d2d4e15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68fe147-9dd1-47bd-9b2d-8726d041f76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  <p:tag name="SHAPEINFOGUID" val="f76ed40a-add9-464a-a1b7-8418601bd3c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d0cdcd-bc55-4a26-8512-1063d2d4e15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68fe147-9dd1-47bd-9b2d-8726d041f76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d0cdcd-bc55-4a26-8512-1063d2d4e15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e68fe147-9dd1-47bd-9b2d-8726d041f76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49,88976"/>
  <p:tag name="LEFT" val="30,56457"/>
  <p:tag name="WIDTH" val="647,433"/>
  <p:tag name="HEIGHT" val="34,58268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26459d07-3cc9-4704-9700-e75c0375cfb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SHAPEINFOGUID" val="ea426bfa-d07e-4089-abcf-bf64fadfa0a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a4523a1-a33c-40a3-b675-d66c5dafddc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a4523a1-a33c-40a3-b675-d66c5dafddc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fb679d8-afb2-4be9-a86a-e6e89c47878b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5fbc0c42-1228-4323-9469-28e6dc7ddc8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fb679d8-afb2-4be9-a86a-e6e89c47878b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a7353a3-cabe-4ce4-b7c3-75cb187091b9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ABEL-urn:sag:quickSlide:basic:slides#SAGLabels\c020c157-572b-4eee-be8d-ad6778cc21bf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3c6c0d9-5ca8-4a53-83ca-30385d4a536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040ac46a-a9ef-4945-a9e2-03c4bf92964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ustomer_journey_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390,6186"/>
  <p:tag name="LEFT" val="53,17953"/>
  <p:tag name="WIDTH" val="178,5827"/>
  <p:tag name="HEIGHT" val="7,27031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16,25"/>
  <p:tag name="LEFT" val="30,66646"/>
  <p:tag name="WIDTH" val="648"/>
  <p:tag name="HEIGHT" val="33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26c94c-e19c-4f52-8415-085fff9b9afc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49,88976"/>
  <p:tag name="LEFT" val="30,56457"/>
  <p:tag name="WIDTH" val="647,433"/>
  <p:tag name="HEIGHT" val="34,58268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26c94c-e19c-4f52-8415-085fff9b9afc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58e1989a-e3b5-4d3e-90f4-77937df7127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a5c660e9-5de6-4d74-bdd3-a047cb6b4b3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cf10a16c-1850-4561-9e37-4735062559f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d0cdcd-bc55-4a26-8512-1063d2d4e15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SHAPEINFOGUID" val="ade84ad8-cdec-41ab-86b3-e85fc27555c9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40f014f1-0425-4265-8668-0b8537b26f8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91f8cb56-b976-41a7-b1b4-1f503d7ab3c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d0cdcd-bc55-4a26-8512-1063d2d4e15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58e1989a-e3b5-4d3e-90f4-77937df7127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a4523a1-a33c-40a3-b675-d66c5dafddc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d0cdcd-bc55-4a26-8512-1063d2d4e15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ba4523a1-a33c-40a3-b675-d66c5dafddc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26c94c-e19c-4f52-8415-085fff9b9afc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26459d07-3cc9-4704-9700-e75c0375cfb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SHAPEINFOGUID" val="ea426bfa-d07e-4089-abcf-bf64fadfa0a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ABEL-urn:sag:quickSlide:basic:slides#SAGLabels\c020c157-572b-4eee-be8d-ad6778cc21bf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ustomer_journey_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390,6186"/>
  <p:tag name="LEFT" val="53,17953"/>
  <p:tag name="WIDTH" val="178,5827"/>
  <p:tag name="HEIGHT" val="7,27031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16,25"/>
  <p:tag name="LEFT" val="30,66646"/>
  <p:tag name="WIDTH" val="648"/>
  <p:tag name="HEIGHT" val="33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2f00e7d-b277-45ee-ae13-57f96b4cac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49,88976"/>
  <p:tag name="LEFT" val="30,56457"/>
  <p:tag name="WIDTH" val="647,433"/>
  <p:tag name="HEIGHT" val="34,58268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040ac46a-a9ef-4945-a9e2-03c4bf92964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6026c94c-e19c-4f52-8415-085fff9b9afc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58e1989a-e3b5-4d3e-90f4-77937df7127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12f00e7d-b277-45ee-ae13-57f96b4cacf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aac4ebb1-f0d6-4546-b71a-ffbeff3df85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008af843-9ffe-47c3-bac9-e0402a91267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08a579c2-17ba-4632-b8d0-29f6b9bdb29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d797725b-7eaa-4648-9560-ed30c2a68f59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INFOGUID" val="f92dc9fa-b8b7-44d2-a9e5-7289f8350e2d"/>
</p:tagLst>
</file>

<file path=ppt/theme/theme1.xml><?xml version="1.0" encoding="utf-8"?>
<a:theme xmlns:a="http://schemas.openxmlformats.org/drawingml/2006/main" name="Software AG">
  <a:themeElements>
    <a:clrScheme name="Software AG">
      <a:dk1>
        <a:srgbClr val="333333"/>
      </a:dk1>
      <a:lt1>
        <a:sysClr val="window" lastClr="FFFFFF"/>
      </a:lt1>
      <a:dk2>
        <a:srgbClr val="006F97"/>
      </a:dk2>
      <a:lt2>
        <a:srgbClr val="0899CC"/>
      </a:lt2>
      <a:accent1>
        <a:srgbClr val="0899CC"/>
      </a:accent1>
      <a:accent2>
        <a:srgbClr val="006F97"/>
      </a:accent2>
      <a:accent3>
        <a:srgbClr val="989898"/>
      </a:accent3>
      <a:accent4>
        <a:srgbClr val="0C3B60"/>
      </a:accent4>
      <a:accent5>
        <a:srgbClr val="BAD80A"/>
      </a:accent5>
      <a:accent6>
        <a:srgbClr val="FF4200"/>
      </a:accent6>
      <a:hlink>
        <a:srgbClr val="0899CC"/>
      </a:hlink>
      <a:folHlink>
        <a:srgbClr val="98989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marL="169200" indent="-169200">
          <a:spcBef>
            <a:spcPts val="432"/>
          </a:spcBef>
          <a:buClr>
            <a:schemeClr val="bg1">
              <a:lumMod val="50000"/>
            </a:schemeClr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oftware AG" id="{1E869CBD-4201-4C02-88F2-02C764AC2394}" vid="{27FA787E-7E34-4982-B973-DA5EEF386E6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9513D3A72C154B8D104E416E54CE0E" ma:contentTypeVersion="0" ma:contentTypeDescription="Create a new document." ma:contentTypeScope="" ma:versionID="6ccdd1bdccaebe3156cf25bdd37b6c0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FD850FC-C893-49E7-8AF9-E5D8BAAC83B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E17219-FBC5-4272-8749-5AFC41C03A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45D029B-074D-42E4-8836-B016E6596DFF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oftware AG</Template>
  <TotalTime>0</TotalTime>
  <Words>293</Words>
  <Application>Microsoft Office PowerPoint</Application>
  <PresentationFormat>On-screen Show (16:9)</PresentationFormat>
  <Paragraphs>62</Paragraphs>
  <Slides>5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MS PGothic</vt:lpstr>
      <vt:lpstr>Arial</vt:lpstr>
      <vt:lpstr>Bradley Hand ITC</vt:lpstr>
      <vt:lpstr>Calibri</vt:lpstr>
      <vt:lpstr>Software AG</vt:lpstr>
      <vt:lpstr>MIWG Demo</vt:lpstr>
      <vt:lpstr>Miwg demo 2020</vt:lpstr>
      <vt:lpstr>Miwg demo 2020</vt:lpstr>
      <vt:lpstr>Miwg demo 2020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WG Demo</dc:title>
  <dc:creator>Thaler, Tom</dc:creator>
  <cp:lastModifiedBy>Thaler, Tom</cp:lastModifiedBy>
  <cp:revision>24</cp:revision>
  <dcterms:created xsi:type="dcterms:W3CDTF">2020-01-14T11:33:45Z</dcterms:created>
  <dcterms:modified xsi:type="dcterms:W3CDTF">2020-01-30T08:4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513D3A72C154B8D104E416E54CE0E</vt:lpwstr>
  </property>
</Properties>
</file>